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56" r:id="rId2"/>
    <p:sldId id="257" r:id="rId3"/>
    <p:sldId id="326" r:id="rId4"/>
    <p:sldId id="342" r:id="rId5"/>
    <p:sldId id="327" r:id="rId6"/>
    <p:sldId id="328" r:id="rId7"/>
    <p:sldId id="351" r:id="rId8"/>
    <p:sldId id="300" r:id="rId9"/>
    <p:sldId id="350" r:id="rId10"/>
    <p:sldId id="343" r:id="rId11"/>
    <p:sldId id="344" r:id="rId12"/>
    <p:sldId id="357" r:id="rId13"/>
    <p:sldId id="345" r:id="rId14"/>
    <p:sldId id="346" r:id="rId15"/>
    <p:sldId id="359" r:id="rId16"/>
    <p:sldId id="360" r:id="rId17"/>
    <p:sldId id="362" r:id="rId18"/>
    <p:sldId id="306" r:id="rId19"/>
    <p:sldId id="309" r:id="rId20"/>
    <p:sldId id="363" r:id="rId21"/>
    <p:sldId id="313" r:id="rId22"/>
    <p:sldId id="314" r:id="rId23"/>
    <p:sldId id="364" r:id="rId24"/>
    <p:sldId id="352" r:id="rId25"/>
    <p:sldId id="353" r:id="rId26"/>
    <p:sldId id="317" r:id="rId27"/>
    <p:sldId id="356" r:id="rId28"/>
    <p:sldId id="354" r:id="rId29"/>
    <p:sldId id="365" r:id="rId30"/>
    <p:sldId id="348" r:id="rId31"/>
    <p:sldId id="340" r:id="rId32"/>
    <p:sldId id="349" r:id="rId33"/>
    <p:sldId id="355" r:id="rId34"/>
    <p:sldId id="325" r:id="rId35"/>
    <p:sldId id="272" r:id="rId36"/>
  </p:sldIdLst>
  <p:sldSz cx="9144000" cy="6858000" type="screen4x3"/>
  <p:notesSz cx="6797675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1164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EKAUNDA\Documents\CARP\current%20and%20potential%20fish%20prodution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 lang="en-GB" sz="2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F$18:$F$20</c:f>
              <c:strCache>
                <c:ptCount val="3"/>
                <c:pt idx="0">
                  <c:v>current</c:v>
                </c:pt>
                <c:pt idx="1">
                  <c:v>CARP</c:v>
                </c:pt>
                <c:pt idx="2">
                  <c:v>Potetial</c:v>
                </c:pt>
              </c:strCache>
            </c:strRef>
          </c:cat>
          <c:val>
            <c:numRef>
              <c:f>Sheet1!$G$18:$G$20</c:f>
              <c:numCache>
                <c:formatCode>General</c:formatCode>
                <c:ptCount val="3"/>
                <c:pt idx="0">
                  <c:v>750</c:v>
                </c:pt>
                <c:pt idx="1">
                  <c:v>1500</c:v>
                </c:pt>
                <c:pt idx="2">
                  <c:v>35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930880"/>
        <c:axId val="85496192"/>
      </c:barChart>
      <c:catAx>
        <c:axId val="8193088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lang="en-GB" sz="2800" baseline="0"/>
            </a:pPr>
            <a:endParaRPr lang="en-US"/>
          </a:p>
        </c:txPr>
        <c:crossAx val="85496192"/>
        <c:crosses val="autoZero"/>
        <c:auto val="1"/>
        <c:lblAlgn val="ctr"/>
        <c:lblOffset val="100"/>
        <c:noMultiLvlLbl val="0"/>
      </c:catAx>
      <c:valAx>
        <c:axId val="854961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GB"/>
            </a:pPr>
            <a:endParaRPr lang="en-US"/>
          </a:p>
        </c:txPr>
        <c:crossAx val="81930880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lang="en-GB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  <c:userShapes r:id="rId3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2472</cdr:x>
      <cdr:y>0.19697</cdr:y>
    </cdr:from>
    <cdr:to>
      <cdr:x>0.6854</cdr:x>
      <cdr:y>0.65152</cdr:y>
    </cdr:to>
    <cdr:sp macro="" textlink="">
      <cdr:nvSpPr>
        <cdr:cNvPr id="3" name="Straight Arrow Connector 2"/>
        <cdr:cNvSpPr/>
      </cdr:nvSpPr>
      <cdr:spPr>
        <a:xfrm xmlns:a="http://schemas.openxmlformats.org/drawingml/2006/main" flipV="1">
          <a:off x="1524000" y="990600"/>
          <a:ext cx="3124239" cy="2286023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rgbClr val="FF0000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C62E435-3825-41A7-85F0-FCC660F3A70A}" type="datetimeFigureOut">
              <a:rPr lang="en-US"/>
              <a:pPr>
                <a:defRPr/>
              </a:pPr>
              <a:t>11/12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6F7BE84A-7442-40FA-8EE6-79D71DAC83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8910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383D94D-4A97-4989-AB9D-096AC82A0C7D}" type="slidenum">
              <a:rPr lang="en-US" smtClean="0"/>
              <a:pPr/>
              <a:t>1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7BE84A-7442-40FA-8EE6-79D71DAC83B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260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16463"/>
            <a:ext cx="5435600" cy="4465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3BEEF07-AAA6-4158-9C96-CB643CC8408C}" type="slidenum">
              <a:rPr lang="en-US" smtClean="0"/>
              <a:pPr/>
              <a:t>26</a:t>
            </a:fld>
            <a:endParaRPr lang="en-US" smtClean="0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6AA364-1351-4D18-A916-F3E65A7FFD33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88125" y="61658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D9ED28-9989-45DF-8EB8-4764BDF2060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FBE2F4-B9D2-437B-8C28-FE769519CCE6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78C040-44C1-4539-A75F-422BDB46CA8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372C40-BF48-497E-911E-9DB434B52F8A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0B518E-E712-4B20-BE9C-5AC585EC05E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9960B4-F554-4141-9CFB-4EF1C0FB17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5F24B0-E72D-495F-B495-2790DCF7E8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84B39-187A-4AC5-B3EA-472D56CD4F66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0EC8DE-4396-4407-9800-037760BB79E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70E555-1A9E-4B15-BB9D-9638D490D106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B07704-81DE-4EBD-8FAD-1A374D5F8EF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E3D863-9C05-4147-B500-CC36D4CD708A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63C220-4A40-49D9-A5F2-E8250A4A59F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EE1A4-753A-4299-B5C4-826C40E83520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07CB28-ACE7-45D2-894F-6B75DDD7995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8B3435-43F9-4BEC-8005-AD93ECCD83E6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8FBF98-180F-4376-9EFA-0EEFE572D74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DCE84-9790-439F-B1CA-64CD59CCDA7C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CFB163-2824-4A67-9186-B775E466A23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5E10A2-6F61-4906-BF05-CC193616CC3D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47010C-C860-4B66-B0FD-A83AB75BA89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C50140-6E3A-4A31-BB6A-78A8A06290A0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1BDBF4-15AC-4950-A7DC-9CCE98AE85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375650" y="44450"/>
            <a:ext cx="768350" cy="623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F2C11DA-0947-4607-BA35-C0C476014C89}" type="datetimeFigureOut">
              <a:rPr lang="en-US"/>
              <a:pPr>
                <a:defRPr/>
              </a:pPr>
              <a:t>11/12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648CC1F-9A59-4A5B-AEAD-8466CED21B4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1032" name="Picture 9" descr="10 year logo-latest 51.jpg"/>
          <p:cNvPicPr>
            <a:picLocks noChangeAspect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480175" y="6000750"/>
            <a:ext cx="255587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8" descr="NPCA logo.jpg"/>
          <p:cNvPicPr>
            <a:picLocks noChangeAspect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427538" y="5516563"/>
            <a:ext cx="2451100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6" r:id="rId12"/>
    <p:sldLayoutId id="2147483757" r:id="rId13"/>
  </p:sldLayoutIdLst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hub.africabiosciences.org/about-abcf/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epadsanbiofishnode.org/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epadbiosafety.net/" TargetMode="Externa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6" Type="http://schemas.openxmlformats.org/officeDocument/2006/relationships/tags" Target="../tags/tag76.xml"/><Relationship Id="rId84" Type="http://schemas.openxmlformats.org/officeDocument/2006/relationships/tags" Target="../tags/tag84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87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notesSlide" Target="../notesSlides/notesSlide3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2"/>
          <p:cNvSpPr>
            <a:spLocks noGrp="1"/>
          </p:cNvSpPr>
          <p:nvPr>
            <p:ph type="ctrTitle"/>
          </p:nvPr>
        </p:nvSpPr>
        <p:spPr>
          <a:xfrm>
            <a:off x="251520" y="188640"/>
            <a:ext cx="8568952" cy="2664296"/>
          </a:xfrm>
        </p:spPr>
        <p:txBody>
          <a:bodyPr/>
          <a:lstStyle/>
          <a:p>
            <a:r>
              <a:rPr lang="en-US" sz="4800" dirty="0">
                <a:latin typeface="Maiandra GD" pitchFamily="34" charset="0"/>
              </a:rPr>
              <a:t>Science Technology and Innovation </a:t>
            </a:r>
            <a:r>
              <a:rPr lang="en-US" sz="4800" dirty="0" smtClean="0">
                <a:latin typeface="Maiandra GD" pitchFamily="34" charset="0"/>
              </a:rPr>
              <a:t>Programmes in the AU/NEPAD Agency</a:t>
            </a:r>
            <a:endParaRPr lang="en-US" sz="3600" b="1" i="1" dirty="0" smtClean="0">
              <a:latin typeface="Maiandra GD" pitchFamily="34" charset="0"/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539552" y="2996952"/>
            <a:ext cx="7772400" cy="223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en-US" sz="2800" b="1" i="1" dirty="0" smtClean="0">
                <a:latin typeface="Maiandra GD" pitchFamily="34" charset="0"/>
                <a:ea typeface="+mj-ea"/>
                <a:cs typeface="+mj-cs"/>
              </a:rPr>
              <a:t>Chimwemwe Chamdimba</a:t>
            </a:r>
            <a:endParaRPr lang="en-US" sz="2800" b="1" i="1" dirty="0">
              <a:latin typeface="Maiandra GD" pitchFamily="34" charset="0"/>
              <a:ea typeface="+mj-ea"/>
              <a:cs typeface="+mj-cs"/>
            </a:endParaRPr>
          </a:p>
          <a:p>
            <a:pPr algn="ctr" eaLnBrk="0" hangingPunct="0">
              <a:defRPr/>
            </a:pPr>
            <a:r>
              <a:rPr lang="en-US" sz="2800" b="1" i="1" dirty="0" smtClean="0">
                <a:latin typeface="Maiandra GD" pitchFamily="34" charset="0"/>
                <a:ea typeface="+mj-ea"/>
                <a:cs typeface="+mj-cs"/>
              </a:rPr>
              <a:t>NEPAD Science Technology and Innovation Hub</a:t>
            </a:r>
          </a:p>
          <a:p>
            <a:pPr algn="ctr" eaLnBrk="0" hangingPunct="0">
              <a:defRPr/>
            </a:pPr>
            <a:r>
              <a:rPr lang="en-US" sz="3200" b="1" i="1" dirty="0" smtClean="0">
                <a:latin typeface="Maiandra GD" pitchFamily="34" charset="0"/>
                <a:ea typeface="+mj-ea"/>
                <a:cs typeface="+mj-cs"/>
              </a:rPr>
              <a:t>AU/NEPAD Agency </a:t>
            </a:r>
            <a:endParaRPr lang="en-US" sz="3200" b="1" i="1" dirty="0">
              <a:latin typeface="Maiandra GD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229600" cy="1143000"/>
          </a:xfrm>
        </p:spPr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Key Outcomes </a:t>
            </a:r>
            <a:endParaRPr lang="en-ZA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268760"/>
            <a:ext cx="8229600" cy="4785395"/>
          </a:xfrm>
        </p:spPr>
        <p:txBody>
          <a:bodyPr/>
          <a:lstStyle/>
          <a:p>
            <a:r>
              <a:rPr lang="en-ZA" sz="3000" dirty="0" smtClean="0">
                <a:latin typeface="Maiandra GD" pitchFamily="34" charset="0"/>
              </a:rPr>
              <a:t>A traditional remedy for HIV/AIDs validated (SF2000). </a:t>
            </a:r>
          </a:p>
          <a:p>
            <a:pPr marL="0" indent="0">
              <a:buNone/>
            </a:pPr>
            <a:endParaRPr lang="en-ZA" sz="2800" dirty="0" smtClean="0">
              <a:latin typeface="Maiandra GD" pitchFamily="34" charset="0"/>
            </a:endParaRPr>
          </a:p>
          <a:p>
            <a:r>
              <a:rPr lang="en-ZA" sz="3000" dirty="0" smtClean="0">
                <a:latin typeface="Maiandra GD" pitchFamily="34" charset="0"/>
              </a:rPr>
              <a:t>Using our natural resources, indigenous knowledge and scientific innovation</a:t>
            </a:r>
          </a:p>
          <a:p>
            <a:endParaRPr lang="en-ZA" sz="3600" dirty="0" smtClean="0">
              <a:latin typeface="Maiandra GD" pitchFamily="34" charset="0"/>
            </a:endParaRPr>
          </a:p>
          <a:p>
            <a:r>
              <a:rPr lang="en-ZA" sz="3000" dirty="0" smtClean="0">
                <a:latin typeface="Maiandra GD" pitchFamily="34" charset="0"/>
              </a:rPr>
              <a:t>Currently ready for Phase I Clinical Trials. </a:t>
            </a:r>
          </a:p>
          <a:p>
            <a:endParaRPr lang="en-ZA" sz="1000" dirty="0" smtClean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21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96" y="548680"/>
            <a:ext cx="7871921" cy="5112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4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922114"/>
          </a:xfrm>
        </p:spPr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Key Outcomes </a:t>
            </a:r>
            <a:endParaRPr lang="en-ZA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052736"/>
            <a:ext cx="8229600" cy="4813995"/>
          </a:xfrm>
        </p:spPr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Establishment of State-of-the-Art research facilities at the </a:t>
            </a:r>
            <a:r>
              <a:rPr lang="en-ZA" dirty="0" err="1" smtClean="0">
                <a:latin typeface="Maiandra GD" pitchFamily="34" charset="0"/>
              </a:rPr>
              <a:t>BecA</a:t>
            </a:r>
            <a:r>
              <a:rPr lang="en-ZA" dirty="0" smtClean="0">
                <a:latin typeface="Maiandra GD" pitchFamily="34" charset="0"/>
              </a:rPr>
              <a:t> Hub-ILRI, Nairobi which has enabled:</a:t>
            </a:r>
          </a:p>
          <a:p>
            <a:pPr lvl="1"/>
            <a:r>
              <a:rPr lang="en-ZA" dirty="0" smtClean="0">
                <a:latin typeface="Maiandra GD" pitchFamily="34" charset="0"/>
              </a:rPr>
              <a:t>Formulation of a challenge fund to build </a:t>
            </a:r>
            <a:r>
              <a:rPr lang="en-ZA" dirty="0">
                <a:latin typeface="Maiandra GD" pitchFamily="34" charset="0"/>
              </a:rPr>
              <a:t>regional </a:t>
            </a:r>
            <a:r>
              <a:rPr lang="en-ZA" dirty="0" smtClean="0">
                <a:latin typeface="Maiandra GD" pitchFamily="34" charset="0"/>
              </a:rPr>
              <a:t>capacity for biosciences research - The Africa </a:t>
            </a:r>
            <a:r>
              <a:rPr lang="en-ZA" dirty="0">
                <a:latin typeface="Maiandra GD" pitchFamily="34" charset="0"/>
              </a:rPr>
              <a:t>Biosciences Challenge Fund (ABCF</a:t>
            </a:r>
            <a:r>
              <a:rPr lang="en-ZA" dirty="0" smtClean="0">
                <a:latin typeface="Maiandra GD" pitchFamily="34" charset="0"/>
              </a:rPr>
              <a:t>)</a:t>
            </a:r>
          </a:p>
          <a:p>
            <a:pPr lvl="1"/>
            <a:endParaRPr lang="en-ZA" sz="800" dirty="0" smtClean="0">
              <a:latin typeface="Maiandra GD" pitchFamily="34" charset="0"/>
            </a:endParaRPr>
          </a:p>
          <a:p>
            <a:pPr lvl="1"/>
            <a:r>
              <a:rPr lang="en-ZA" dirty="0" smtClean="0">
                <a:latin typeface="Maiandra GD" pitchFamily="34" charset="0"/>
              </a:rPr>
              <a:t>Tackling </a:t>
            </a:r>
            <a:r>
              <a:rPr lang="en-ZA" dirty="0">
                <a:latin typeface="Maiandra GD" pitchFamily="34" charset="0"/>
              </a:rPr>
              <a:t>important agricultural constraints </a:t>
            </a:r>
            <a:r>
              <a:rPr lang="en-ZA" dirty="0" smtClean="0">
                <a:latin typeface="Maiandra GD" pitchFamily="34" charset="0"/>
              </a:rPr>
              <a:t>in food </a:t>
            </a:r>
            <a:r>
              <a:rPr lang="en-ZA" dirty="0">
                <a:latin typeface="Maiandra GD" pitchFamily="34" charset="0"/>
              </a:rPr>
              <a:t>production, nutrition and animal </a:t>
            </a:r>
            <a:r>
              <a:rPr lang="en-ZA" dirty="0" smtClean="0">
                <a:latin typeface="Maiandra GD" pitchFamily="34" charset="0"/>
              </a:rPr>
              <a:t>health </a:t>
            </a:r>
            <a:r>
              <a:rPr lang="en-ZA" dirty="0" smtClean="0">
                <a:latin typeface="Maiandra GD" pitchFamily="34" charset="0"/>
                <a:hlinkClick r:id="rId2"/>
              </a:rPr>
              <a:t>http</a:t>
            </a:r>
            <a:r>
              <a:rPr lang="en-ZA" dirty="0">
                <a:latin typeface="Maiandra GD" pitchFamily="34" charset="0"/>
                <a:hlinkClick r:id="rId2"/>
              </a:rPr>
              <a:t>://hub.africabiosciences.org/about-abcf</a:t>
            </a:r>
            <a:r>
              <a:rPr lang="en-ZA" dirty="0" smtClean="0">
                <a:latin typeface="Maiandra GD" pitchFamily="34" charset="0"/>
                <a:hlinkClick r:id="rId2"/>
              </a:rPr>
              <a:t>/</a:t>
            </a:r>
            <a:endParaRPr lang="en-ZA" dirty="0" smtClean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654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Key outcomes</a:t>
            </a:r>
            <a:endParaRPr lang="en-ZA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836712"/>
            <a:ext cx="8229600" cy="5871790"/>
          </a:xfrm>
        </p:spPr>
        <p:txBody>
          <a:bodyPr/>
          <a:lstStyle/>
          <a:p>
            <a:r>
              <a:rPr lang="en-US" dirty="0">
                <a:latin typeface="Maiandra GD" pitchFamily="34" charset="0"/>
              </a:rPr>
              <a:t>Establishment of a Bioinformatics Core Facility at the University of </a:t>
            </a:r>
            <a:r>
              <a:rPr lang="en-US" dirty="0" smtClean="0">
                <a:latin typeface="Maiandra GD" pitchFamily="34" charset="0"/>
              </a:rPr>
              <a:t>Mauritius</a:t>
            </a:r>
          </a:p>
          <a:p>
            <a:endParaRPr lang="en-US" sz="800" dirty="0">
              <a:latin typeface="Maiandra GD" pitchFamily="34" charset="0"/>
            </a:endParaRPr>
          </a:p>
          <a:p>
            <a:r>
              <a:rPr lang="en-US" dirty="0">
                <a:latin typeface="Maiandra GD" pitchFamily="34" charset="0"/>
              </a:rPr>
              <a:t>Researchers from 10 institutions within SADC trained in using a stand alone Bioinformatics toolkit (which can run without the internet</a:t>
            </a:r>
            <a:r>
              <a:rPr lang="en-US" dirty="0" smtClean="0">
                <a:latin typeface="Maiandra GD" pitchFamily="34" charset="0"/>
              </a:rPr>
              <a:t>)</a:t>
            </a:r>
          </a:p>
          <a:p>
            <a:endParaRPr lang="en-US" sz="800" dirty="0">
              <a:latin typeface="Maiandra GD" pitchFamily="34" charset="0"/>
            </a:endParaRPr>
          </a:p>
          <a:p>
            <a:r>
              <a:rPr lang="en-US" dirty="0" smtClean="0">
                <a:latin typeface="Maiandra GD" pitchFamily="34" charset="0"/>
              </a:rPr>
              <a:t>SADC PGR Policy Guidelines have been developed and Member States supported to review national PGR and PGR-related policies</a:t>
            </a:r>
          </a:p>
          <a:p>
            <a:endParaRPr lang="en-US" sz="800" dirty="0" smtClean="0"/>
          </a:p>
          <a:p>
            <a:endParaRPr lang="en-US" sz="800" dirty="0" smtClean="0"/>
          </a:p>
        </p:txBody>
      </p:sp>
    </p:spTree>
    <p:extLst>
      <p:ext uri="{BB962C8B-B14F-4D97-AF65-F5344CB8AC3E}">
        <p14:creationId xmlns:p14="http://schemas.microsoft.com/office/powerpoint/2010/main" val="353865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620688"/>
          </a:xfrm>
        </p:spPr>
        <p:txBody>
          <a:bodyPr/>
          <a:lstStyle/>
          <a:p>
            <a:r>
              <a:rPr lang="en-ZA" dirty="0"/>
              <a:t>Key outcom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764704"/>
            <a:ext cx="8373616" cy="4561112"/>
          </a:xfrm>
        </p:spPr>
        <p:txBody>
          <a:bodyPr/>
          <a:lstStyle/>
          <a:p>
            <a:r>
              <a:rPr lang="en-ZA" dirty="0">
                <a:latin typeface="Maiandra GD" pitchFamily="34" charset="0"/>
              </a:rPr>
              <a:t>Over 600 farmers </a:t>
            </a:r>
            <a:r>
              <a:rPr lang="en-ZA" dirty="0" smtClean="0">
                <a:latin typeface="Maiandra GD" pitchFamily="34" charset="0"/>
              </a:rPr>
              <a:t>trained on improved </a:t>
            </a:r>
            <a:r>
              <a:rPr lang="en-ZA" dirty="0">
                <a:latin typeface="Maiandra GD" pitchFamily="34" charset="0"/>
              </a:rPr>
              <a:t>mushroom production </a:t>
            </a:r>
            <a:r>
              <a:rPr lang="en-ZA" dirty="0" smtClean="0">
                <a:latin typeface="Maiandra GD" pitchFamily="34" charset="0"/>
              </a:rPr>
              <a:t>technologies </a:t>
            </a:r>
          </a:p>
          <a:p>
            <a:endParaRPr lang="en-ZA" sz="800" dirty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Establishment of Pilot Mushroom Technology Park in Namibia and </a:t>
            </a:r>
            <a:r>
              <a:rPr lang="en-ZA" dirty="0" err="1" smtClean="0">
                <a:latin typeface="Maiandra GD" pitchFamily="34" charset="0"/>
              </a:rPr>
              <a:t>Genebank</a:t>
            </a:r>
            <a:r>
              <a:rPr lang="en-ZA" dirty="0" smtClean="0">
                <a:latin typeface="Maiandra GD" pitchFamily="34" charset="0"/>
              </a:rPr>
              <a:t> in Swaziland </a:t>
            </a:r>
          </a:p>
          <a:p>
            <a:endParaRPr lang="en-ZA" sz="800" dirty="0" smtClean="0">
              <a:latin typeface="Maiandra GD" pitchFamily="34" charset="0"/>
            </a:endParaRPr>
          </a:p>
          <a:p>
            <a:r>
              <a:rPr lang="en-US" dirty="0">
                <a:latin typeface="Maiandra GD" pitchFamily="34" charset="0"/>
              </a:rPr>
              <a:t>Action –research – 65 fish farmers (reaching </a:t>
            </a:r>
            <a:r>
              <a:rPr lang="en-US" dirty="0" err="1">
                <a:latin typeface="Maiandra GD" pitchFamily="34" charset="0"/>
              </a:rPr>
              <a:t>approx</a:t>
            </a:r>
            <a:r>
              <a:rPr lang="en-US" dirty="0">
                <a:latin typeface="Maiandra GD" pitchFamily="34" charset="0"/>
              </a:rPr>
              <a:t> 400 members plus others) ;  2 </a:t>
            </a:r>
            <a:r>
              <a:rPr lang="en-US" dirty="0" smtClean="0">
                <a:latin typeface="Maiandra GD" pitchFamily="34" charset="0"/>
              </a:rPr>
              <a:t>districts </a:t>
            </a:r>
            <a:r>
              <a:rPr lang="en-ZA" dirty="0" smtClean="0">
                <a:latin typeface="Maiandra GD" pitchFamily="34" charset="0"/>
              </a:rPr>
              <a:t>of Malawi </a:t>
            </a:r>
            <a:r>
              <a:rPr lang="en-US" i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  <a:hlinkClick r:id="rId2"/>
              </a:rPr>
              <a:t>www.nepadsanbiofishnode.org</a:t>
            </a:r>
            <a:endParaRPr lang="en-ZA" dirty="0">
              <a:latin typeface="Maiandra GD" pitchFamily="34" charset="0"/>
            </a:endParaRPr>
          </a:p>
          <a:p>
            <a:endParaRPr lang="en-ZA" dirty="0" smtClean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1933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837263756"/>
              </p:ext>
            </p:extLst>
          </p:nvPr>
        </p:nvGraphicFramePr>
        <p:xfrm>
          <a:off x="965076" y="1196752"/>
          <a:ext cx="6781800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187624" y="260648"/>
            <a:ext cx="63367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800" b="1" dirty="0" smtClean="0">
                <a:latin typeface="Maiandra GD" pitchFamily="34" charset="0"/>
              </a:rPr>
              <a:t>3 Year-Fish Farming </a:t>
            </a:r>
            <a:r>
              <a:rPr lang="en-ZA" sz="2800" b="1" dirty="0">
                <a:latin typeface="Maiandra GD" pitchFamily="34" charset="0"/>
              </a:rPr>
              <a:t>I</a:t>
            </a:r>
            <a:r>
              <a:rPr lang="en-ZA" sz="2800" b="1" dirty="0" smtClean="0">
                <a:latin typeface="Maiandra GD" pitchFamily="34" charset="0"/>
              </a:rPr>
              <a:t>ntervention </a:t>
            </a:r>
            <a:r>
              <a:rPr lang="en-ZA" sz="2800" b="1" dirty="0">
                <a:latin typeface="Maiandra GD" pitchFamily="34" charset="0"/>
              </a:rPr>
              <a:t>D</a:t>
            </a:r>
            <a:r>
              <a:rPr lang="en-ZA" sz="2800" b="1" dirty="0" smtClean="0">
                <a:latin typeface="Maiandra GD" pitchFamily="34" charset="0"/>
              </a:rPr>
              <a:t>oubled </a:t>
            </a:r>
            <a:r>
              <a:rPr lang="en-ZA" sz="2800" b="1" dirty="0">
                <a:latin typeface="Maiandra GD" pitchFamily="34" charset="0"/>
              </a:rPr>
              <a:t>F</a:t>
            </a:r>
            <a:r>
              <a:rPr lang="en-ZA" sz="2800" b="1" dirty="0" smtClean="0">
                <a:latin typeface="Maiandra GD" pitchFamily="34" charset="0"/>
              </a:rPr>
              <a:t>ish </a:t>
            </a:r>
            <a:r>
              <a:rPr lang="en-ZA" sz="2800" b="1" dirty="0">
                <a:latin typeface="Maiandra GD" pitchFamily="34" charset="0"/>
              </a:rPr>
              <a:t>P</a:t>
            </a:r>
            <a:r>
              <a:rPr lang="en-ZA" sz="2800" b="1" dirty="0" smtClean="0">
                <a:latin typeface="Maiandra GD" pitchFamily="34" charset="0"/>
              </a:rPr>
              <a:t>roduction </a:t>
            </a:r>
            <a:endParaRPr lang="en-GB" sz="2800" b="1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91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86406" y="1642733"/>
            <a:ext cx="756084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n-ZA" sz="2800" dirty="0">
                <a:latin typeface="Maiandra GD" pitchFamily="34" charset="0"/>
                <a:cs typeface="Aharoni" pitchFamily="2" charset="-79"/>
              </a:rPr>
              <a:t>The BIKS qualification and programme was adopted by the SADC Ministers of S&amp;T at their meeting in Seychelles (August 2009) as a regional IKS teaching programme. </a:t>
            </a:r>
            <a:endParaRPr lang="en-ZA" sz="2800" dirty="0" smtClean="0">
              <a:latin typeface="Maiandra GD" pitchFamily="34" charset="0"/>
              <a:cs typeface="Aharoni" pitchFamily="2" charset="-79"/>
            </a:endParaRPr>
          </a:p>
          <a:p>
            <a:pPr marL="285750" indent="-285750" algn="just">
              <a:buFont typeface="Arial" pitchFamily="34" charset="0"/>
              <a:buChar char="•"/>
            </a:pPr>
            <a:endParaRPr lang="en-ZA" sz="2800" dirty="0" smtClean="0">
              <a:latin typeface="Maiandra GD" pitchFamily="34" charset="0"/>
              <a:cs typeface="Aharoni" pitchFamily="2" charset="-79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en-US" sz="2800" dirty="0" smtClean="0">
                <a:latin typeface="Maiandra GD" pitchFamily="34" charset="0"/>
              </a:rPr>
              <a:t>Establishment of African </a:t>
            </a:r>
            <a:r>
              <a:rPr lang="en-US" sz="2800" dirty="0">
                <a:latin typeface="Maiandra GD" pitchFamily="34" charset="0"/>
              </a:rPr>
              <a:t>Young Scientists Initiative on Climate Change (AYSICC) </a:t>
            </a:r>
            <a:r>
              <a:rPr lang="en-US" sz="2800" dirty="0" smtClean="0">
                <a:latin typeface="Maiandra GD" pitchFamily="34" charset="0"/>
              </a:rPr>
              <a:t>– Continental youth network on IKS and climate change </a:t>
            </a:r>
            <a:endParaRPr lang="en-US" sz="2800" dirty="0" smtClean="0">
              <a:latin typeface="Maiandra GD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20619" y="548680"/>
            <a:ext cx="72728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3200" b="1" dirty="0" smtClean="0">
                <a:latin typeface="Maiandra GD" pitchFamily="34" charset="0"/>
              </a:rPr>
              <a:t>Indigenous Knowledge Systems Interventions  </a:t>
            </a:r>
            <a:endParaRPr lang="en-GB" sz="3200" b="1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0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388" y="188913"/>
            <a:ext cx="8964612" cy="576262"/>
          </a:xfrm>
        </p:spPr>
        <p:txBody>
          <a:bodyPr/>
          <a:lstStyle/>
          <a:p>
            <a:pPr algn="ctr">
              <a:defRPr/>
            </a:pPr>
            <a:r>
              <a:rPr lang="en-ZA" sz="3200" b="1" dirty="0" smtClean="0">
                <a:latin typeface="Maiandra GD" pitchFamily="34" charset="0"/>
              </a:rPr>
              <a:t>IKS Publications </a:t>
            </a:r>
            <a:endParaRPr lang="en-ZA" sz="3200" b="1" dirty="0">
              <a:latin typeface="Maiandra GD" pitchFamily="34" charset="0"/>
            </a:endParaRPr>
          </a:p>
        </p:txBody>
      </p:sp>
      <p:sp>
        <p:nvSpPr>
          <p:cNvPr id="22531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ZA" smtClean="0"/>
          </a:p>
        </p:txBody>
      </p:sp>
      <p:pic>
        <p:nvPicPr>
          <p:cNvPr id="22532" name="Picture 5" descr="C:\Users\simeon\Pictures\2012-08-22 iksCenturion\iksCenturion 01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08050"/>
            <a:ext cx="4572000" cy="594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3" name="Picture 6" descr="C:\Users\simeon\Pictures\2012-08-22 iksCenturion\iksCenturion 016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16463" y="836613"/>
            <a:ext cx="4427537" cy="6021387"/>
          </a:xfrm>
          <a:noFill/>
        </p:spPr>
      </p:pic>
    </p:spTree>
    <p:extLst>
      <p:ext uri="{BB962C8B-B14F-4D97-AF65-F5344CB8AC3E}">
        <p14:creationId xmlns:p14="http://schemas.microsoft.com/office/powerpoint/2010/main" val="68772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6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7BEFC01B-CE99-4D5E-8154-C5B7B7138F0B}" type="slidenum">
              <a:rPr lang="en-US" smtClean="0"/>
              <a:pPr/>
              <a:t>18</a:t>
            </a:fld>
            <a:endParaRPr lang="en-US" smtClean="0"/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188640"/>
            <a:ext cx="6646863" cy="1143000"/>
          </a:xfrm>
        </p:spPr>
        <p:txBody>
          <a:bodyPr/>
          <a:lstStyle/>
          <a:p>
            <a:pPr eaLnBrk="1" hangingPunct="1"/>
            <a:r>
              <a:rPr lang="en-US" sz="4000" dirty="0" smtClean="0">
                <a:latin typeface="Maiandra GD" pitchFamily="34" charset="0"/>
              </a:rPr>
              <a:t>African Biosafety Network of Expertise (ABNE)</a:t>
            </a:r>
          </a:p>
        </p:txBody>
      </p:sp>
      <p:sp>
        <p:nvSpPr>
          <p:cNvPr id="10244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67544" y="1484784"/>
            <a:ext cx="7931150" cy="4525963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GB" sz="2800" dirty="0" smtClean="0">
                <a:latin typeface="Maiandra GD" pitchFamily="34" charset="0"/>
              </a:rPr>
              <a:t>Provides biosafety information resources to member states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en-GB" sz="1800" dirty="0" smtClean="0">
                <a:latin typeface="Maiandra GD" pitchFamily="34" charset="0"/>
              </a:rPr>
              <a:t> 	</a:t>
            </a:r>
            <a:r>
              <a:rPr lang="en-GB" sz="1800" dirty="0" smtClean="0">
                <a:latin typeface="Maiandra GD" pitchFamily="34" charset="0"/>
                <a:hlinkClick r:id="rId2"/>
              </a:rPr>
              <a:t>http://www.nepadbiosafety.net</a:t>
            </a:r>
            <a:endParaRPr lang="en-GB" sz="18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GB" sz="8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en-GB" sz="2800" dirty="0" smtClean="0">
                <a:latin typeface="Maiandra GD" pitchFamily="34" charset="0"/>
              </a:rPr>
              <a:t>Conducted training sessions on biotechnology regulatory processes in Burkina Faso </a:t>
            </a:r>
          </a:p>
          <a:p>
            <a:pPr eaLnBrk="1" hangingPunct="1">
              <a:lnSpc>
                <a:spcPct val="80000"/>
              </a:lnSpc>
            </a:pPr>
            <a:endParaRPr lang="en-GB" sz="8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en-ZA" sz="2800" dirty="0" smtClean="0">
                <a:latin typeface="Maiandra GD" pitchFamily="34" charset="0"/>
              </a:rPr>
              <a:t>Trained evaluators in Ghana </a:t>
            </a:r>
            <a:endParaRPr lang="en-GB" sz="28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GB" sz="8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en-GB" sz="2800" dirty="0" smtClean="0">
                <a:latin typeface="Maiandra GD" pitchFamily="34" charset="0"/>
              </a:rPr>
              <a:t>Trained inspectors for field trials in Nigeria </a:t>
            </a:r>
          </a:p>
          <a:p>
            <a:pPr eaLnBrk="1" hangingPunct="1">
              <a:lnSpc>
                <a:spcPct val="80000"/>
              </a:lnSpc>
            </a:pPr>
            <a:endParaRPr lang="en-GB" sz="8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en-GB" sz="2800" dirty="0" smtClean="0">
                <a:latin typeface="Maiandra GD" pitchFamily="34" charset="0"/>
              </a:rPr>
              <a:t>Programmes on awareness creation &amp; understanding for government officials</a:t>
            </a:r>
          </a:p>
          <a:p>
            <a:pPr eaLnBrk="1" hangingPunct="1">
              <a:lnSpc>
                <a:spcPct val="80000"/>
              </a:lnSpc>
            </a:pPr>
            <a:endParaRPr lang="en-GB" sz="800" dirty="0" smtClean="0">
              <a:latin typeface="Maiandra GD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B5AE6BE-C4F7-421F-B40A-D431DD6E4328}" type="slidenum">
              <a:rPr lang="en-US" smtClean="0"/>
              <a:pPr/>
              <a:t>19</a:t>
            </a:fld>
            <a:endParaRPr lang="en-US" smtClean="0"/>
          </a:p>
        </p:txBody>
      </p:sp>
      <p:sp>
        <p:nvSpPr>
          <p:cNvPr id="306178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476672"/>
            <a:ext cx="8229600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sz="4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Maiandra GD" pitchFamily="34" charset="0"/>
              </a:rPr>
              <a:t>Science &amp; Technology for Health</a:t>
            </a:r>
            <a:endParaRPr lang="en-GB" sz="4000" dirty="0" smtClean="0">
              <a:effectLst>
                <a:outerShdw blurRad="38100" dist="38100" dir="2700000" algn="tl">
                  <a:srgbClr val="C0C0C0"/>
                </a:outerShdw>
              </a:effectLst>
              <a:latin typeface="Maiandra GD" pitchFamily="34" charset="0"/>
            </a:endParaRPr>
          </a:p>
        </p:txBody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7544" y="1412776"/>
            <a:ext cx="8229600" cy="4525963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Maiandra GD" pitchFamily="34" charset="0"/>
              </a:rPr>
              <a:t>Currently involved in the following programmes:</a:t>
            </a:r>
          </a:p>
          <a:p>
            <a:pPr lvl="1" eaLnBrk="1" hangingPunct="1"/>
            <a:r>
              <a:rPr lang="en-US" dirty="0" err="1" smtClean="0">
                <a:latin typeface="Maiandra GD" pitchFamily="34" charset="0"/>
              </a:rPr>
              <a:t>Eval</a:t>
            </a:r>
            <a:r>
              <a:rPr lang="en-US" dirty="0" smtClean="0">
                <a:latin typeface="Maiandra GD" pitchFamily="34" charset="0"/>
              </a:rPr>
              <a:t> Health: Development of Impact Assessment </a:t>
            </a:r>
          </a:p>
          <a:p>
            <a:pPr marL="457200" lvl="1" indent="0" eaLnBrk="1" hangingPunct="1">
              <a:buNone/>
            </a:pPr>
            <a:r>
              <a:rPr lang="en-US" dirty="0" smtClean="0">
                <a:latin typeface="Maiandra GD" pitchFamily="34" charset="0"/>
              </a:rPr>
              <a:t>Tools for R &amp; D projects/programmes in Africa</a:t>
            </a:r>
          </a:p>
          <a:p>
            <a:pPr marL="457200" lvl="1" indent="0" eaLnBrk="1" hangingPunct="1">
              <a:buNone/>
            </a:pPr>
            <a:endParaRPr lang="en-US" dirty="0" smtClean="0">
              <a:latin typeface="Maiandra GD" pitchFamily="34" charset="0"/>
            </a:endParaRPr>
          </a:p>
          <a:p>
            <a:pPr lvl="1" eaLnBrk="1" hangingPunct="1"/>
            <a:r>
              <a:rPr lang="en-US" dirty="0" smtClean="0">
                <a:latin typeface="Maiandra GD" pitchFamily="34" charset="0"/>
              </a:rPr>
              <a:t>African Medicines Regulation Harmonization (AMRH) in RECs </a:t>
            </a:r>
          </a:p>
          <a:p>
            <a:pPr eaLnBrk="1" hangingPunct="1"/>
            <a:endParaRPr lang="en-GB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229600" cy="1143000"/>
          </a:xfrm>
        </p:spPr>
        <p:txBody>
          <a:bodyPr/>
          <a:lstStyle/>
          <a:p>
            <a:r>
              <a:rPr lang="en-ZA" b="1" dirty="0" smtClean="0">
                <a:latin typeface="Maiandra GD" pitchFamily="34" charset="0"/>
              </a:rPr>
              <a:t>Presentation Layout</a:t>
            </a:r>
          </a:p>
        </p:txBody>
      </p:sp>
      <p:sp>
        <p:nvSpPr>
          <p:cNvPr id="5123" name="Content Placeholder 2"/>
          <p:cNvSpPr>
            <a:spLocks noGrp="1"/>
          </p:cNvSpPr>
          <p:nvPr>
            <p:ph idx="1"/>
          </p:nvPr>
        </p:nvSpPr>
        <p:spPr>
          <a:xfrm>
            <a:off x="395536" y="1124744"/>
            <a:ext cx="8229600" cy="5544616"/>
          </a:xfrm>
        </p:spPr>
        <p:txBody>
          <a:bodyPr/>
          <a:lstStyle/>
          <a:p>
            <a:r>
              <a:rPr lang="en-ZA" sz="3600" dirty="0" smtClean="0">
                <a:latin typeface="Maiandra GD" pitchFamily="34" charset="0"/>
              </a:rPr>
              <a:t>STI within the NEPAD Agency </a:t>
            </a:r>
          </a:p>
          <a:p>
            <a:endParaRPr lang="en-ZA" sz="800" dirty="0" smtClean="0">
              <a:latin typeface="Maiandra GD" pitchFamily="34" charset="0"/>
            </a:endParaRPr>
          </a:p>
          <a:p>
            <a:r>
              <a:rPr lang="en-ZA" sz="3600" dirty="0" smtClean="0">
                <a:latin typeface="Maiandra GD" pitchFamily="34" charset="0"/>
              </a:rPr>
              <a:t>What are we doing in STI</a:t>
            </a:r>
          </a:p>
          <a:p>
            <a:pPr lvl="1"/>
            <a:r>
              <a:rPr lang="en-ZA" sz="3600" dirty="0" smtClean="0">
                <a:latin typeface="Maiandra GD" pitchFamily="34" charset="0"/>
              </a:rPr>
              <a:t>Programmes </a:t>
            </a:r>
          </a:p>
          <a:p>
            <a:endParaRPr lang="en-ZA" sz="800" dirty="0" smtClean="0">
              <a:latin typeface="Maiandra GD" pitchFamily="34" charset="0"/>
            </a:endParaRPr>
          </a:p>
          <a:p>
            <a:r>
              <a:rPr lang="en-ZA" sz="3600" dirty="0" smtClean="0">
                <a:latin typeface="Maiandra GD" pitchFamily="34" charset="0"/>
              </a:rPr>
              <a:t>Outcomes so far? </a:t>
            </a:r>
          </a:p>
          <a:p>
            <a:pPr lvl="1"/>
            <a:r>
              <a:rPr lang="en-ZA" sz="3600" dirty="0" smtClean="0">
                <a:latin typeface="Maiandra GD" pitchFamily="34" charset="0"/>
              </a:rPr>
              <a:t>what if we were not there? </a:t>
            </a:r>
          </a:p>
          <a:p>
            <a:pPr lvl="1"/>
            <a:endParaRPr lang="en-ZA" sz="800" dirty="0" smtClean="0">
              <a:latin typeface="Maiandra GD" pitchFamily="34" charset="0"/>
            </a:endParaRPr>
          </a:p>
          <a:p>
            <a:r>
              <a:rPr lang="en-ZA" sz="3600" dirty="0" smtClean="0">
                <a:latin typeface="Maiandra GD" pitchFamily="34" charset="0"/>
              </a:rPr>
              <a:t>Lessons learnt  </a:t>
            </a:r>
          </a:p>
          <a:p>
            <a:endParaRPr lang="en-ZA" sz="800" dirty="0" smtClean="0">
              <a:latin typeface="Maiandra GD" pitchFamily="34" charset="0"/>
            </a:endParaRPr>
          </a:p>
          <a:p>
            <a:r>
              <a:rPr lang="en-ZA" sz="3600" dirty="0" smtClean="0">
                <a:latin typeface="Maiandra GD" pitchFamily="34" charset="0"/>
              </a:rPr>
              <a:t>Looking ahead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2"/>
          <p:cNvSpPr>
            <a:spLocks noGrp="1"/>
          </p:cNvSpPr>
          <p:nvPr>
            <p:ph type="title"/>
          </p:nvPr>
        </p:nvSpPr>
        <p:spPr>
          <a:xfrm>
            <a:off x="458789" y="304800"/>
            <a:ext cx="7844144" cy="820738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sz="3200" b="1" dirty="0" smtClean="0">
                <a:solidFill>
                  <a:schemeClr val="accent6">
                    <a:lumMod val="75000"/>
                  </a:schemeClr>
                </a:solidFill>
                <a:latin typeface="Maiandra GD" pitchFamily="34" charset="0"/>
              </a:rPr>
              <a:t>Almost 85% of Sub-Saharan Africa with MRH projects at various levels</a:t>
            </a:r>
          </a:p>
        </p:txBody>
      </p:sp>
      <p:sp>
        <p:nvSpPr>
          <p:cNvPr id="13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00DC55D-B791-4FE9-BE89-A6AF3A5F3353}" type="slidenum">
              <a:rPr lang="en-GB"/>
              <a:pPr>
                <a:defRPr/>
              </a:pPr>
              <a:t>20</a:t>
            </a:fld>
            <a:endParaRPr lang="en-GB"/>
          </a:p>
        </p:txBody>
      </p:sp>
      <p:graphicFrame>
        <p:nvGraphicFramePr>
          <p:cNvPr id="124046" name="Group 14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775179"/>
              </p:ext>
            </p:extLst>
          </p:nvPr>
        </p:nvGraphicFramePr>
        <p:xfrm>
          <a:off x="3175" y="4314403"/>
          <a:ext cx="6300788" cy="2066925"/>
        </p:xfrm>
        <a:graphic>
          <a:graphicData uri="http://schemas.openxmlformats.org/drawingml/2006/table">
            <a:tbl>
              <a:tblPr/>
              <a:tblGrid>
                <a:gridCol w="3014663"/>
                <a:gridCol w="1050925"/>
                <a:gridCol w="1276350"/>
                <a:gridCol w="958850"/>
              </a:tblGrid>
              <a:tr h="4938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ompleted or in-process RECs</a:t>
                      </a:r>
                    </a:p>
                  </a:txBody>
                  <a:tcPr marL="45720" marR="45720" marT="45728" marB="45728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ountries covered</a:t>
                      </a:r>
                    </a:p>
                  </a:txBody>
                  <a:tcPr marL="45720" marR="45720" marT="45728" marB="4572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Total</a:t>
                      </a:r>
                      <a:b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</a:b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embers*</a:t>
                      </a:r>
                    </a:p>
                  </a:txBody>
                  <a:tcPr marL="45720" marR="45720" marT="45728" marB="4572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% pop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overed</a:t>
                      </a:r>
                    </a:p>
                  </a:txBody>
                  <a:tcPr marL="45720" marR="45720" marT="45728" marB="45728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28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AC &amp; ECCAS/OCEAC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AC, ECCAS/OCEAC, ECOWA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AC, ECCAS/OCEAC, ECOWAS, SADC</a:t>
                      </a:r>
                    </a:p>
                  </a:txBody>
                  <a:tcPr marL="45720" marR="45720" marT="45728" marB="45728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2 (20%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6 (46%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41 (74%)</a:t>
                      </a:r>
                    </a:p>
                  </a:txBody>
                  <a:tcPr marL="45720" marR="45720" marT="45728" marB="45728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6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41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20" marR="45720" marT="45728" marB="45728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7%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45%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72%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20" marR="45720" marT="45728" marB="45728" anchorCtr="1"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1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nl-NL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20" marR="45720" marT="45728" marB="45728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nl-NL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20" marR="45720" marT="45728" marB="45728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nl-NL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20" marR="45720" marT="45728" marB="45728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nl-NL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20" marR="45720" marT="45728" marB="45728" anchorCtr="1"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355" name="Rectangle 30"/>
          <p:cNvSpPr>
            <a:spLocks noChangeArrowheads="1"/>
          </p:cNvSpPr>
          <p:nvPr/>
        </p:nvSpPr>
        <p:spPr bwMode="gray">
          <a:xfrm>
            <a:off x="395288" y="1196975"/>
            <a:ext cx="41894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b">
            <a:spAutoFit/>
          </a:bodyPr>
          <a:lstStyle/>
          <a:p>
            <a:pPr algn="ctr"/>
            <a:r>
              <a:rPr lang="en-US" sz="1400" b="1"/>
              <a:t>REC progress</a:t>
            </a:r>
          </a:p>
        </p:txBody>
      </p:sp>
      <p:sp>
        <p:nvSpPr>
          <p:cNvPr id="14356" name="Line 31"/>
          <p:cNvSpPr>
            <a:spLocks noChangeShapeType="1"/>
          </p:cNvSpPr>
          <p:nvPr/>
        </p:nvSpPr>
        <p:spPr bwMode="auto">
          <a:xfrm>
            <a:off x="395288" y="1557338"/>
            <a:ext cx="4189412" cy="0"/>
          </a:xfrm>
          <a:prstGeom prst="line">
            <a:avLst/>
          </a:prstGeom>
          <a:noFill/>
          <a:ln w="19050">
            <a:solidFill>
              <a:srgbClr val="CE6B2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14357" name="BCG_FootNote_Box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8313" y="6381750"/>
            <a:ext cx="8270875" cy="32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71842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800"/>
              <a:t>Source: BCG analysis</a:t>
            </a:r>
          </a:p>
        </p:txBody>
      </p:sp>
      <p:sp>
        <p:nvSpPr>
          <p:cNvPr id="14358" name="Text Box 33"/>
          <p:cNvSpPr txBox="1">
            <a:spLocks noChangeArrowheads="1"/>
          </p:cNvSpPr>
          <p:nvPr/>
        </p:nvSpPr>
        <p:spPr bwMode="auto">
          <a:xfrm>
            <a:off x="6858000" y="4989513"/>
            <a:ext cx="5445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000" b="1"/>
              <a:t>SADC</a:t>
            </a:r>
          </a:p>
        </p:txBody>
      </p:sp>
      <p:sp>
        <p:nvSpPr>
          <p:cNvPr id="14359" name="Rectangle 34"/>
          <p:cNvSpPr>
            <a:spLocks noChangeArrowheads="1"/>
          </p:cNvSpPr>
          <p:nvPr/>
        </p:nvSpPr>
        <p:spPr bwMode="gray">
          <a:xfrm>
            <a:off x="0" y="5589588"/>
            <a:ext cx="4603750" cy="998537"/>
          </a:xfrm>
          <a:prstGeom prst="rect">
            <a:avLst/>
          </a:prstGeom>
          <a:solidFill>
            <a:srgbClr val="D5CB99"/>
          </a:solidFill>
          <a:ln w="9525" algn="ctr">
            <a:solidFill>
              <a:srgbClr val="D5CB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algn="ctr" eaLnBrk="0" hangingPunct="0"/>
            <a:r>
              <a:rPr lang="en-US" sz="1600" b="1"/>
              <a:t>We are pushing forward those RECs that are ready while continuing to work with the remaining regions </a:t>
            </a:r>
          </a:p>
        </p:txBody>
      </p:sp>
      <p:sp>
        <p:nvSpPr>
          <p:cNvPr id="14360" name="Rectangle 3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3063" y="1500188"/>
            <a:ext cx="1600200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>
            <a:spAutoFit/>
          </a:bodyPr>
          <a:lstStyle/>
          <a:p>
            <a:pPr algn="ctr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2000">
                <a:latin typeface="Calibri" pitchFamily="34" charset="0"/>
              </a:rPr>
              <a:t>REC</a:t>
            </a:r>
          </a:p>
        </p:txBody>
      </p:sp>
      <p:sp>
        <p:nvSpPr>
          <p:cNvPr id="14361" name="Rectangle 3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1773238"/>
            <a:ext cx="1908175" cy="2696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>
            <a:spAutoFit/>
          </a:bodyPr>
          <a:lstStyle/>
          <a:p>
            <a:pPr marL="168275" indent="-168275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>
                <a:latin typeface="Calibri" pitchFamily="34" charset="0"/>
              </a:rPr>
              <a:t>EAC</a:t>
            </a:r>
          </a:p>
          <a:p>
            <a:pPr marL="168275" indent="-168275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endParaRPr lang="en-US" sz="1600" b="1" dirty="0">
              <a:latin typeface="Calibri" pitchFamily="34" charset="0"/>
            </a:endParaRPr>
          </a:p>
          <a:p>
            <a:pPr marL="168275" indent="-168275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 smtClean="0">
                <a:latin typeface="Calibri" pitchFamily="34" charset="0"/>
              </a:rPr>
              <a:t>West Africa WAHO/UEMOA</a:t>
            </a:r>
            <a:endParaRPr lang="en-US" sz="1600" b="1" dirty="0">
              <a:latin typeface="Calibri" pitchFamily="34" charset="0"/>
            </a:endParaRPr>
          </a:p>
          <a:p>
            <a:pPr marL="168275" indent="-168275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endParaRPr lang="en-US" sz="1600" b="1" dirty="0" smtClean="0">
              <a:latin typeface="Calibri" pitchFamily="34" charset="0"/>
            </a:endParaRPr>
          </a:p>
          <a:p>
            <a:pPr marL="168275" indent="-168275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 smtClean="0">
                <a:latin typeface="Calibri" pitchFamily="34" charset="0"/>
              </a:rPr>
              <a:t>ECCAS/OCEAC</a:t>
            </a:r>
            <a:endParaRPr lang="en-US" sz="1600" b="1" dirty="0">
              <a:latin typeface="Calibri" pitchFamily="34" charset="0"/>
            </a:endParaRPr>
          </a:p>
          <a:p>
            <a:pPr marL="168275" indent="-168275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 smtClean="0">
                <a:latin typeface="Calibri" pitchFamily="34" charset="0"/>
              </a:rPr>
              <a:t>SADC</a:t>
            </a:r>
            <a:endParaRPr lang="en-US" sz="1600" b="1" dirty="0">
              <a:latin typeface="Calibri" pitchFamily="34" charset="0"/>
            </a:endParaRPr>
          </a:p>
          <a:p>
            <a:pPr marL="168275" indent="-168275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>
                <a:latin typeface="Calibri" pitchFamily="34" charset="0"/>
              </a:rPr>
              <a:t>North/Northeast</a:t>
            </a:r>
            <a:br>
              <a:rPr lang="en-US" sz="1600" b="1" dirty="0">
                <a:latin typeface="Calibri" pitchFamily="34" charset="0"/>
              </a:rPr>
            </a:br>
            <a:r>
              <a:rPr lang="en-US" sz="1600" b="1" dirty="0">
                <a:latin typeface="Calibri" pitchFamily="34" charset="0"/>
              </a:rPr>
              <a:t>Africa</a:t>
            </a:r>
          </a:p>
        </p:txBody>
      </p:sp>
      <p:sp>
        <p:nvSpPr>
          <p:cNvPr id="14362" name="Rectangle 3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19250" y="1484313"/>
            <a:ext cx="1003300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>
            <a:spAutoFit/>
          </a:bodyPr>
          <a:lstStyle/>
          <a:p>
            <a:pPr algn="ctr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2000">
                <a:latin typeface="Calibri" pitchFamily="34" charset="0"/>
              </a:rPr>
              <a:t>Status</a:t>
            </a:r>
          </a:p>
        </p:txBody>
      </p:sp>
      <p:sp>
        <p:nvSpPr>
          <p:cNvPr id="14363" name="Rectangle 3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35400" y="1484313"/>
            <a:ext cx="145732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>
            <a:spAutoFit/>
          </a:bodyPr>
          <a:lstStyle/>
          <a:p>
            <a:pPr algn="ctr"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2000">
                <a:latin typeface="Calibri" pitchFamily="34" charset="0"/>
              </a:rPr>
              <a:t>Comments</a:t>
            </a:r>
          </a:p>
        </p:txBody>
      </p:sp>
      <p:sp>
        <p:nvSpPr>
          <p:cNvPr id="14364" name="Line 39"/>
          <p:cNvSpPr>
            <a:spLocks noChangeShapeType="1"/>
          </p:cNvSpPr>
          <p:nvPr/>
        </p:nvSpPr>
        <p:spPr bwMode="auto">
          <a:xfrm>
            <a:off x="395288" y="1844675"/>
            <a:ext cx="15906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14365" name="Line 40"/>
          <p:cNvSpPr>
            <a:spLocks noChangeShapeType="1"/>
          </p:cNvSpPr>
          <p:nvPr/>
        </p:nvSpPr>
        <p:spPr bwMode="auto">
          <a:xfrm>
            <a:off x="2051050" y="1844675"/>
            <a:ext cx="10096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14366" name="Line 41"/>
          <p:cNvSpPr>
            <a:spLocks noChangeShapeType="1"/>
          </p:cNvSpPr>
          <p:nvPr/>
        </p:nvSpPr>
        <p:spPr bwMode="auto">
          <a:xfrm>
            <a:off x="3128963" y="1819275"/>
            <a:ext cx="13954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14367" name="Rectangle 4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692275" y="1852613"/>
            <a:ext cx="2016125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91440" rIns="0" bIns="0"/>
          <a:lstStyle/>
          <a:p>
            <a:pPr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>
                <a:latin typeface="Calibri" pitchFamily="34" charset="0"/>
              </a:rPr>
              <a:t>MRH Project Proposal finalized 2011</a:t>
            </a:r>
          </a:p>
          <a:p>
            <a:pPr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 smtClean="0">
                <a:latin typeface="Calibri" pitchFamily="34" charset="0"/>
              </a:rPr>
              <a:t>MRH implementation framework agreed by end 2012</a:t>
            </a:r>
          </a:p>
          <a:p>
            <a:pPr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 smtClean="0">
                <a:latin typeface="Calibri" pitchFamily="34" charset="0"/>
              </a:rPr>
              <a:t>Under </a:t>
            </a:r>
            <a:r>
              <a:rPr lang="en-US" sz="1600" b="1" dirty="0">
                <a:latin typeface="Calibri" pitchFamily="34" charset="0"/>
              </a:rPr>
              <a:t>consultation</a:t>
            </a:r>
          </a:p>
          <a:p>
            <a:pPr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 smtClean="0">
                <a:latin typeface="Calibri" pitchFamily="34" charset="0"/>
              </a:rPr>
              <a:t>Partners </a:t>
            </a:r>
            <a:r>
              <a:rPr lang="en-US" sz="1600" b="1" dirty="0">
                <a:latin typeface="Calibri" pitchFamily="34" charset="0"/>
              </a:rPr>
              <a:t>consultation</a:t>
            </a:r>
          </a:p>
          <a:p>
            <a:pPr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>
                <a:latin typeface="Calibri" pitchFamily="34" charset="0"/>
              </a:rPr>
              <a:t>Under consultation</a:t>
            </a:r>
          </a:p>
        </p:txBody>
      </p:sp>
      <p:sp>
        <p:nvSpPr>
          <p:cNvPr id="14368" name="Rectangle 4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922713" y="1773238"/>
            <a:ext cx="1944687" cy="1563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>
            <a:spAutoFit/>
          </a:bodyPr>
          <a:lstStyle/>
          <a:p>
            <a:pPr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r>
              <a:rPr lang="en-US" sz="1600" b="1" dirty="0">
                <a:latin typeface="Calibri" pitchFamily="34" charset="0"/>
              </a:rPr>
              <a:t>Project launched 30</a:t>
            </a:r>
            <a:r>
              <a:rPr lang="en-US" sz="1600" b="1" baseline="30000" dirty="0">
                <a:latin typeface="Calibri" pitchFamily="34" charset="0"/>
              </a:rPr>
              <a:t>th</a:t>
            </a:r>
            <a:r>
              <a:rPr lang="en-US" sz="1600" b="1" dirty="0">
                <a:latin typeface="Calibri" pitchFamily="34" charset="0"/>
              </a:rPr>
              <a:t> March 2012</a:t>
            </a:r>
          </a:p>
          <a:p>
            <a:pPr>
              <a:spcBef>
                <a:spcPct val="20000"/>
              </a:spcBef>
              <a:buClr>
                <a:schemeClr val="accent2"/>
              </a:buClr>
              <a:buSzPct val="125000"/>
            </a:pPr>
            <a:endParaRPr lang="en-US" sz="1600" b="1" dirty="0">
              <a:latin typeface="Calibri" pitchFamily="34" charset="0"/>
            </a:endParaRPr>
          </a:p>
          <a:p>
            <a:pPr>
              <a:spcBef>
                <a:spcPct val="20000"/>
              </a:spcBef>
              <a:buClr>
                <a:schemeClr val="accent2"/>
              </a:buClr>
              <a:buSzPct val="125000"/>
              <a:buFont typeface="Arial" pitchFamily="34" charset="0"/>
              <a:buChar char="•"/>
            </a:pPr>
            <a:endParaRPr lang="en-US" sz="1600" b="1" dirty="0">
              <a:latin typeface="Calibri" pitchFamily="34" charset="0"/>
            </a:endParaRPr>
          </a:p>
          <a:p>
            <a:pPr>
              <a:spcBef>
                <a:spcPct val="20000"/>
              </a:spcBef>
              <a:buClr>
                <a:schemeClr val="accent2"/>
              </a:buClr>
              <a:buSzPct val="125000"/>
            </a:pPr>
            <a:endParaRPr lang="en-US" sz="1600" b="1" dirty="0">
              <a:latin typeface="Calibri" pitchFamily="34" charset="0"/>
            </a:endParaRPr>
          </a:p>
        </p:txBody>
      </p:sp>
      <p:sp>
        <p:nvSpPr>
          <p:cNvPr id="14369" name="Text Box 44"/>
          <p:cNvSpPr txBox="1">
            <a:spLocks noChangeArrowheads="1"/>
          </p:cNvSpPr>
          <p:nvPr/>
        </p:nvSpPr>
        <p:spPr bwMode="auto">
          <a:xfrm>
            <a:off x="8435975" y="6465888"/>
            <a:ext cx="3238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89B59737-DCA5-4958-A7B7-F81D35240063}" type="slidenum">
              <a:rPr lang="en-US" sz="1000">
                <a:solidFill>
                  <a:schemeClr val="bg1"/>
                </a:solidFill>
              </a:rPr>
              <a:pPr eaLnBrk="1" hangingPunct="1"/>
              <a:t>20</a:t>
            </a:fld>
            <a:endParaRPr lang="en-US" sz="1000">
              <a:solidFill>
                <a:schemeClr val="bg1"/>
              </a:solidFill>
            </a:endParaRPr>
          </a:p>
        </p:txBody>
      </p:sp>
      <p:grpSp>
        <p:nvGrpSpPr>
          <p:cNvPr id="14370" name="Group 45"/>
          <p:cNvGrpSpPr>
            <a:grpSpLocks/>
          </p:cNvGrpSpPr>
          <p:nvPr/>
        </p:nvGrpSpPr>
        <p:grpSpPr bwMode="auto">
          <a:xfrm>
            <a:off x="5364163" y="908050"/>
            <a:ext cx="3816350" cy="4059238"/>
            <a:chOff x="2992" y="586"/>
            <a:chExt cx="2544" cy="2557"/>
          </a:xfrm>
        </p:grpSpPr>
        <p:sp>
          <p:nvSpPr>
            <p:cNvPr id="14371" name="AutoShape 46"/>
            <p:cNvSpPr>
              <a:spLocks/>
            </p:cNvSpPr>
            <p:nvPr/>
          </p:nvSpPr>
          <p:spPr bwMode="auto">
            <a:xfrm>
              <a:off x="5127" y="1771"/>
              <a:ext cx="96" cy="502"/>
            </a:xfrm>
            <a:prstGeom prst="rightBrace">
              <a:avLst>
                <a:gd name="adj1" fmla="val 43576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ZA"/>
            </a:p>
          </p:txBody>
        </p:sp>
        <p:sp>
          <p:nvSpPr>
            <p:cNvPr id="14372" name="AutoShape 47"/>
            <p:cNvSpPr>
              <a:spLocks/>
            </p:cNvSpPr>
            <p:nvPr/>
          </p:nvSpPr>
          <p:spPr bwMode="auto">
            <a:xfrm rot="16200000" flipH="1">
              <a:off x="4398" y="2606"/>
              <a:ext cx="188" cy="885"/>
            </a:xfrm>
            <a:prstGeom prst="rightBrace">
              <a:avLst>
                <a:gd name="adj1" fmla="val 39229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ZA"/>
            </a:p>
          </p:txBody>
        </p:sp>
        <p:grpSp>
          <p:nvGrpSpPr>
            <p:cNvPr id="14373" name="Group 48"/>
            <p:cNvGrpSpPr>
              <a:grpSpLocks/>
            </p:cNvGrpSpPr>
            <p:nvPr/>
          </p:nvGrpSpPr>
          <p:grpSpPr bwMode="auto">
            <a:xfrm rot="950862">
              <a:off x="3131" y="1684"/>
              <a:ext cx="790" cy="316"/>
              <a:chOff x="3105" y="1732"/>
              <a:chExt cx="790" cy="316"/>
            </a:xfrm>
          </p:grpSpPr>
          <p:sp>
            <p:nvSpPr>
              <p:cNvPr id="14456" name="AutoShape 49"/>
              <p:cNvSpPr>
                <a:spLocks/>
              </p:cNvSpPr>
              <p:nvPr/>
            </p:nvSpPr>
            <p:spPr bwMode="auto">
              <a:xfrm rot="5413413" flipH="1">
                <a:off x="3431" y="1429"/>
                <a:ext cx="161" cy="767"/>
              </a:xfrm>
              <a:prstGeom prst="leftBrace">
                <a:avLst>
                  <a:gd name="adj1" fmla="val 39700"/>
                  <a:gd name="adj2" fmla="val 51042"/>
                </a:avLst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/>
              </a:p>
            </p:txBody>
          </p:sp>
          <p:sp>
            <p:nvSpPr>
              <p:cNvPr id="14457" name="Text Box 50"/>
              <p:cNvSpPr txBox="1">
                <a:spLocks noChangeArrowheads="1"/>
              </p:cNvSpPr>
              <p:nvPr/>
            </p:nvSpPr>
            <p:spPr bwMode="auto">
              <a:xfrm>
                <a:off x="3105" y="1894"/>
                <a:ext cx="730" cy="1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US" sz="1000" b="1"/>
                  <a:t>WAHO/UEMOA</a:t>
                </a:r>
              </a:p>
            </p:txBody>
          </p:sp>
        </p:grpSp>
        <p:sp>
          <p:nvSpPr>
            <p:cNvPr id="14374" name="Text Box 51"/>
            <p:cNvSpPr txBox="1">
              <a:spLocks noChangeArrowheads="1"/>
            </p:cNvSpPr>
            <p:nvPr/>
          </p:nvSpPr>
          <p:spPr bwMode="auto">
            <a:xfrm>
              <a:off x="5195" y="1945"/>
              <a:ext cx="302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en-US" sz="1000" b="1"/>
                <a:t>EAC</a:t>
              </a:r>
            </a:p>
          </p:txBody>
        </p:sp>
        <p:sp>
          <p:nvSpPr>
            <p:cNvPr id="14375" name="AutoShape 52"/>
            <p:cNvSpPr>
              <a:spLocks/>
            </p:cNvSpPr>
            <p:nvPr/>
          </p:nvSpPr>
          <p:spPr bwMode="auto">
            <a:xfrm rot="19662477" flipH="1">
              <a:off x="4012" y="1790"/>
              <a:ext cx="50" cy="331"/>
            </a:xfrm>
            <a:prstGeom prst="rightBrace">
              <a:avLst>
                <a:gd name="adj1" fmla="val 55167"/>
                <a:gd name="adj2" fmla="val 46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ZA"/>
            </a:p>
          </p:txBody>
        </p:sp>
        <p:cxnSp>
          <p:nvCxnSpPr>
            <p:cNvPr id="14376" name="AutoShape 53"/>
            <p:cNvCxnSpPr>
              <a:cxnSpLocks noChangeShapeType="1"/>
              <a:stCxn id="14375" idx="1"/>
            </p:cNvCxnSpPr>
            <p:nvPr/>
          </p:nvCxnSpPr>
          <p:spPr bwMode="auto">
            <a:xfrm flipH="1">
              <a:off x="3870" y="1957"/>
              <a:ext cx="138" cy="237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 type="none" w="lg" len="lg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</p:cxnSp>
        <p:sp>
          <p:nvSpPr>
            <p:cNvPr id="14377" name="Text Box 54"/>
            <p:cNvSpPr txBox="1">
              <a:spLocks noChangeArrowheads="1"/>
            </p:cNvSpPr>
            <p:nvPr/>
          </p:nvSpPr>
          <p:spPr bwMode="auto">
            <a:xfrm>
              <a:off x="3680" y="2170"/>
              <a:ext cx="428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en-US" sz="1000" b="1"/>
                <a:t>OCEAC</a:t>
              </a:r>
            </a:p>
          </p:txBody>
        </p:sp>
        <p:sp>
          <p:nvSpPr>
            <p:cNvPr id="14378" name="Freeform 55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4051" y="723"/>
              <a:ext cx="487" cy="438"/>
            </a:xfrm>
            <a:custGeom>
              <a:avLst/>
              <a:gdLst>
                <a:gd name="T0" fmla="*/ 1 w 786"/>
                <a:gd name="T1" fmla="*/ 10 h 678"/>
                <a:gd name="T2" fmla="*/ 2 w 786"/>
                <a:gd name="T3" fmla="*/ 8 h 678"/>
                <a:gd name="T4" fmla="*/ 2 w 786"/>
                <a:gd name="T5" fmla="*/ 6 h 678"/>
                <a:gd name="T6" fmla="*/ 4 w 786"/>
                <a:gd name="T7" fmla="*/ 5 h 678"/>
                <a:gd name="T8" fmla="*/ 4 w 786"/>
                <a:gd name="T9" fmla="*/ 4 h 678"/>
                <a:gd name="T10" fmla="*/ 6 w 786"/>
                <a:gd name="T11" fmla="*/ 3 h 678"/>
                <a:gd name="T12" fmla="*/ 6 w 786"/>
                <a:gd name="T13" fmla="*/ 1 h 678"/>
                <a:gd name="T14" fmla="*/ 7 w 786"/>
                <a:gd name="T15" fmla="*/ 1 h 678"/>
                <a:gd name="T16" fmla="*/ 7 w 786"/>
                <a:gd name="T17" fmla="*/ 1 h 678"/>
                <a:gd name="T18" fmla="*/ 9 w 786"/>
                <a:gd name="T19" fmla="*/ 1 h 678"/>
                <a:gd name="T20" fmla="*/ 11 w 786"/>
                <a:gd name="T21" fmla="*/ 1 h 678"/>
                <a:gd name="T22" fmla="*/ 12 w 786"/>
                <a:gd name="T23" fmla="*/ 1 h 678"/>
                <a:gd name="T24" fmla="*/ 14 w 786"/>
                <a:gd name="T25" fmla="*/ 2 h 678"/>
                <a:gd name="T26" fmla="*/ 15 w 786"/>
                <a:gd name="T27" fmla="*/ 3 h 678"/>
                <a:gd name="T28" fmla="*/ 17 w 786"/>
                <a:gd name="T29" fmla="*/ 3 h 678"/>
                <a:gd name="T30" fmla="*/ 17 w 786"/>
                <a:gd name="T31" fmla="*/ 5 h 678"/>
                <a:gd name="T32" fmla="*/ 19 w 786"/>
                <a:gd name="T33" fmla="*/ 6 h 678"/>
                <a:gd name="T34" fmla="*/ 20 w 786"/>
                <a:gd name="T35" fmla="*/ 7 h 678"/>
                <a:gd name="T36" fmla="*/ 22 w 786"/>
                <a:gd name="T37" fmla="*/ 8 h 678"/>
                <a:gd name="T38" fmla="*/ 24 w 786"/>
                <a:gd name="T39" fmla="*/ 8 h 678"/>
                <a:gd name="T40" fmla="*/ 25 w 786"/>
                <a:gd name="T41" fmla="*/ 8 h 678"/>
                <a:gd name="T42" fmla="*/ 26 w 786"/>
                <a:gd name="T43" fmla="*/ 10 h 678"/>
                <a:gd name="T44" fmla="*/ 27 w 786"/>
                <a:gd name="T45" fmla="*/ 10 h 678"/>
                <a:gd name="T46" fmla="*/ 29 w 786"/>
                <a:gd name="T47" fmla="*/ 10 h 678"/>
                <a:gd name="T48" fmla="*/ 30 w 786"/>
                <a:gd name="T49" fmla="*/ 8 h 678"/>
                <a:gd name="T50" fmla="*/ 30 w 786"/>
                <a:gd name="T51" fmla="*/ 6 h 678"/>
                <a:gd name="T52" fmla="*/ 30 w 786"/>
                <a:gd name="T53" fmla="*/ 4 h 678"/>
                <a:gd name="T54" fmla="*/ 30 w 786"/>
                <a:gd name="T55" fmla="*/ 3 h 678"/>
                <a:gd name="T56" fmla="*/ 31 w 786"/>
                <a:gd name="T57" fmla="*/ 2 h 678"/>
                <a:gd name="T58" fmla="*/ 33 w 786"/>
                <a:gd name="T59" fmla="*/ 1 h 678"/>
                <a:gd name="T60" fmla="*/ 35 w 786"/>
                <a:gd name="T61" fmla="*/ 1 h 678"/>
                <a:gd name="T62" fmla="*/ 37 w 786"/>
                <a:gd name="T63" fmla="*/ 1 h 678"/>
                <a:gd name="T64" fmla="*/ 38 w 786"/>
                <a:gd name="T65" fmla="*/ 2 h 678"/>
                <a:gd name="T66" fmla="*/ 39 w 786"/>
                <a:gd name="T67" fmla="*/ 3 h 678"/>
                <a:gd name="T68" fmla="*/ 40 w 786"/>
                <a:gd name="T69" fmla="*/ 3 h 678"/>
                <a:gd name="T70" fmla="*/ 42 w 786"/>
                <a:gd name="T71" fmla="*/ 4 h 678"/>
                <a:gd name="T72" fmla="*/ 43 w 786"/>
                <a:gd name="T73" fmla="*/ 4 h 678"/>
                <a:gd name="T74" fmla="*/ 44 w 786"/>
                <a:gd name="T75" fmla="*/ 5 h 678"/>
                <a:gd name="T76" fmla="*/ 45 w 786"/>
                <a:gd name="T77" fmla="*/ 6 h 678"/>
                <a:gd name="T78" fmla="*/ 44 w 786"/>
                <a:gd name="T79" fmla="*/ 7 h 678"/>
                <a:gd name="T80" fmla="*/ 44 w 786"/>
                <a:gd name="T81" fmla="*/ 9 h 678"/>
                <a:gd name="T82" fmla="*/ 43 w 786"/>
                <a:gd name="T83" fmla="*/ 11 h 678"/>
                <a:gd name="T84" fmla="*/ 44 w 786"/>
                <a:gd name="T85" fmla="*/ 13 h 678"/>
                <a:gd name="T86" fmla="*/ 44 w 786"/>
                <a:gd name="T87" fmla="*/ 14 h 678"/>
                <a:gd name="T88" fmla="*/ 39 w 786"/>
                <a:gd name="T89" fmla="*/ 48 h 678"/>
                <a:gd name="T90" fmla="*/ 33 w 786"/>
                <a:gd name="T91" fmla="*/ 44 h 678"/>
                <a:gd name="T92" fmla="*/ 25 w 786"/>
                <a:gd name="T93" fmla="*/ 39 h 678"/>
                <a:gd name="T94" fmla="*/ 18 w 786"/>
                <a:gd name="T95" fmla="*/ 36 h 678"/>
                <a:gd name="T96" fmla="*/ 12 w 786"/>
                <a:gd name="T97" fmla="*/ 36 h 678"/>
                <a:gd name="T98" fmla="*/ 9 w 786"/>
                <a:gd name="T99" fmla="*/ 36 h 678"/>
                <a:gd name="T100" fmla="*/ 7 w 786"/>
                <a:gd name="T101" fmla="*/ 32 h 678"/>
                <a:gd name="T102" fmla="*/ 4 w 786"/>
                <a:gd name="T103" fmla="*/ 31 h 678"/>
                <a:gd name="T104" fmla="*/ 2 w 786"/>
                <a:gd name="T105" fmla="*/ 30 h 678"/>
                <a:gd name="T106" fmla="*/ 0 w 786"/>
                <a:gd name="T107" fmla="*/ 25 h 678"/>
                <a:gd name="T108" fmla="*/ 1 w 786"/>
                <a:gd name="T109" fmla="*/ 24 h 678"/>
                <a:gd name="T110" fmla="*/ 1 w 786"/>
                <a:gd name="T111" fmla="*/ 23 h 678"/>
                <a:gd name="T112" fmla="*/ 1 w 786"/>
                <a:gd name="T113" fmla="*/ 21 h 678"/>
                <a:gd name="T114" fmla="*/ 1 w 786"/>
                <a:gd name="T115" fmla="*/ 18 h 678"/>
                <a:gd name="T116" fmla="*/ 1 w 786"/>
                <a:gd name="T117" fmla="*/ 16 h 678"/>
                <a:gd name="T118" fmla="*/ 1 w 786"/>
                <a:gd name="T119" fmla="*/ 12 h 678"/>
                <a:gd name="T120" fmla="*/ 1 w 786"/>
                <a:gd name="T121" fmla="*/ 10 h 6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786" h="678">
                  <a:moveTo>
                    <a:pt x="12" y="144"/>
                  </a:moveTo>
                  <a:lnTo>
                    <a:pt x="18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08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26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204" y="18"/>
                  </a:lnTo>
                  <a:lnTo>
                    <a:pt x="210" y="18"/>
                  </a:lnTo>
                  <a:lnTo>
                    <a:pt x="216" y="18"/>
                  </a:lnTo>
                  <a:lnTo>
                    <a:pt x="222" y="18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72"/>
                  </a:lnTo>
                  <a:lnTo>
                    <a:pt x="306" y="78"/>
                  </a:lnTo>
                  <a:lnTo>
                    <a:pt x="312" y="84"/>
                  </a:lnTo>
                  <a:lnTo>
                    <a:pt x="318" y="90"/>
                  </a:lnTo>
                  <a:lnTo>
                    <a:pt x="324" y="90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6" y="96"/>
                  </a:lnTo>
                  <a:lnTo>
                    <a:pt x="342" y="96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60" y="96"/>
                  </a:lnTo>
                  <a:lnTo>
                    <a:pt x="366" y="96"/>
                  </a:lnTo>
                  <a:lnTo>
                    <a:pt x="372" y="96"/>
                  </a:lnTo>
                  <a:lnTo>
                    <a:pt x="378" y="96"/>
                  </a:lnTo>
                  <a:lnTo>
                    <a:pt x="390" y="102"/>
                  </a:lnTo>
                  <a:lnTo>
                    <a:pt x="396" y="102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8" y="108"/>
                  </a:lnTo>
                  <a:lnTo>
                    <a:pt x="414" y="108"/>
                  </a:lnTo>
                  <a:lnTo>
                    <a:pt x="420" y="108"/>
                  </a:lnTo>
                  <a:lnTo>
                    <a:pt x="420" y="114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32" y="114"/>
                  </a:lnTo>
                  <a:lnTo>
                    <a:pt x="438" y="120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50" y="126"/>
                  </a:lnTo>
                  <a:lnTo>
                    <a:pt x="456" y="132"/>
                  </a:lnTo>
                  <a:lnTo>
                    <a:pt x="462" y="138"/>
                  </a:lnTo>
                  <a:lnTo>
                    <a:pt x="468" y="138"/>
                  </a:lnTo>
                  <a:lnTo>
                    <a:pt x="474" y="138"/>
                  </a:lnTo>
                  <a:lnTo>
                    <a:pt x="474" y="144"/>
                  </a:lnTo>
                  <a:lnTo>
                    <a:pt x="480" y="144"/>
                  </a:lnTo>
                  <a:lnTo>
                    <a:pt x="486" y="144"/>
                  </a:lnTo>
                  <a:lnTo>
                    <a:pt x="492" y="144"/>
                  </a:lnTo>
                  <a:lnTo>
                    <a:pt x="498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6" y="132"/>
                  </a:lnTo>
                  <a:lnTo>
                    <a:pt x="522" y="126"/>
                  </a:lnTo>
                  <a:lnTo>
                    <a:pt x="528" y="120"/>
                  </a:lnTo>
                  <a:lnTo>
                    <a:pt x="534" y="114"/>
                  </a:lnTo>
                  <a:lnTo>
                    <a:pt x="534" y="108"/>
                  </a:lnTo>
                  <a:lnTo>
                    <a:pt x="540" y="102"/>
                  </a:lnTo>
                  <a:lnTo>
                    <a:pt x="540" y="96"/>
                  </a:lnTo>
                  <a:lnTo>
                    <a:pt x="534" y="96"/>
                  </a:lnTo>
                  <a:lnTo>
                    <a:pt x="534" y="90"/>
                  </a:lnTo>
                  <a:lnTo>
                    <a:pt x="528" y="90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28" y="60"/>
                  </a:lnTo>
                  <a:lnTo>
                    <a:pt x="528" y="54"/>
                  </a:lnTo>
                  <a:lnTo>
                    <a:pt x="534" y="54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40" y="42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82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48" y="18"/>
                  </a:lnTo>
                  <a:lnTo>
                    <a:pt x="654" y="18"/>
                  </a:lnTo>
                  <a:lnTo>
                    <a:pt x="660" y="18"/>
                  </a:lnTo>
                  <a:lnTo>
                    <a:pt x="666" y="24"/>
                  </a:lnTo>
                  <a:lnTo>
                    <a:pt x="672" y="24"/>
                  </a:lnTo>
                  <a:lnTo>
                    <a:pt x="678" y="24"/>
                  </a:lnTo>
                  <a:lnTo>
                    <a:pt x="684" y="24"/>
                  </a:lnTo>
                  <a:lnTo>
                    <a:pt x="684" y="30"/>
                  </a:lnTo>
                  <a:lnTo>
                    <a:pt x="684" y="36"/>
                  </a:lnTo>
                  <a:lnTo>
                    <a:pt x="684" y="42"/>
                  </a:lnTo>
                  <a:lnTo>
                    <a:pt x="690" y="42"/>
                  </a:lnTo>
                  <a:lnTo>
                    <a:pt x="690" y="48"/>
                  </a:lnTo>
                  <a:lnTo>
                    <a:pt x="696" y="48"/>
                  </a:lnTo>
                  <a:lnTo>
                    <a:pt x="702" y="48"/>
                  </a:lnTo>
                  <a:lnTo>
                    <a:pt x="708" y="48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0" y="54"/>
                  </a:lnTo>
                  <a:lnTo>
                    <a:pt x="726" y="54"/>
                  </a:lnTo>
                  <a:lnTo>
                    <a:pt x="732" y="54"/>
                  </a:lnTo>
                  <a:lnTo>
                    <a:pt x="738" y="60"/>
                  </a:lnTo>
                  <a:lnTo>
                    <a:pt x="744" y="60"/>
                  </a:lnTo>
                  <a:lnTo>
                    <a:pt x="750" y="60"/>
                  </a:lnTo>
                  <a:lnTo>
                    <a:pt x="756" y="60"/>
                  </a:lnTo>
                  <a:lnTo>
                    <a:pt x="762" y="54"/>
                  </a:lnTo>
                  <a:lnTo>
                    <a:pt x="768" y="54"/>
                  </a:lnTo>
                  <a:lnTo>
                    <a:pt x="768" y="60"/>
                  </a:lnTo>
                  <a:lnTo>
                    <a:pt x="774" y="60"/>
                  </a:lnTo>
                  <a:lnTo>
                    <a:pt x="780" y="60"/>
                  </a:lnTo>
                  <a:lnTo>
                    <a:pt x="780" y="66"/>
                  </a:lnTo>
                  <a:lnTo>
                    <a:pt x="780" y="72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0" y="78"/>
                  </a:lnTo>
                  <a:lnTo>
                    <a:pt x="774" y="84"/>
                  </a:lnTo>
                  <a:lnTo>
                    <a:pt x="768" y="90"/>
                  </a:lnTo>
                  <a:lnTo>
                    <a:pt x="774" y="90"/>
                  </a:lnTo>
                  <a:lnTo>
                    <a:pt x="774" y="96"/>
                  </a:lnTo>
                  <a:lnTo>
                    <a:pt x="774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14"/>
                  </a:lnTo>
                  <a:lnTo>
                    <a:pt x="780" y="120"/>
                  </a:lnTo>
                  <a:lnTo>
                    <a:pt x="774" y="126"/>
                  </a:lnTo>
                  <a:lnTo>
                    <a:pt x="774" y="132"/>
                  </a:lnTo>
                  <a:lnTo>
                    <a:pt x="768" y="138"/>
                  </a:lnTo>
                  <a:lnTo>
                    <a:pt x="768" y="144"/>
                  </a:lnTo>
                  <a:lnTo>
                    <a:pt x="762" y="150"/>
                  </a:lnTo>
                  <a:lnTo>
                    <a:pt x="768" y="150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74"/>
                  </a:lnTo>
                  <a:lnTo>
                    <a:pt x="774" y="180"/>
                  </a:lnTo>
                  <a:lnTo>
                    <a:pt x="768" y="180"/>
                  </a:lnTo>
                  <a:lnTo>
                    <a:pt x="774" y="180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80" y="192"/>
                  </a:lnTo>
                  <a:lnTo>
                    <a:pt x="780" y="552"/>
                  </a:lnTo>
                  <a:lnTo>
                    <a:pt x="780" y="654"/>
                  </a:lnTo>
                  <a:lnTo>
                    <a:pt x="726" y="654"/>
                  </a:lnTo>
                  <a:lnTo>
                    <a:pt x="726" y="678"/>
                  </a:lnTo>
                  <a:lnTo>
                    <a:pt x="690" y="660"/>
                  </a:lnTo>
                  <a:lnTo>
                    <a:pt x="654" y="642"/>
                  </a:lnTo>
                  <a:lnTo>
                    <a:pt x="618" y="624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82" y="606"/>
                  </a:lnTo>
                  <a:lnTo>
                    <a:pt x="564" y="594"/>
                  </a:lnTo>
                  <a:lnTo>
                    <a:pt x="546" y="588"/>
                  </a:lnTo>
                  <a:lnTo>
                    <a:pt x="468" y="546"/>
                  </a:lnTo>
                  <a:lnTo>
                    <a:pt x="444" y="534"/>
                  </a:lnTo>
                  <a:lnTo>
                    <a:pt x="432" y="534"/>
                  </a:lnTo>
                  <a:lnTo>
                    <a:pt x="372" y="504"/>
                  </a:lnTo>
                  <a:lnTo>
                    <a:pt x="330" y="480"/>
                  </a:lnTo>
                  <a:lnTo>
                    <a:pt x="324" y="486"/>
                  </a:lnTo>
                  <a:lnTo>
                    <a:pt x="318" y="486"/>
                  </a:lnTo>
                  <a:lnTo>
                    <a:pt x="312" y="492"/>
                  </a:lnTo>
                  <a:lnTo>
                    <a:pt x="282" y="504"/>
                  </a:lnTo>
                  <a:lnTo>
                    <a:pt x="240" y="522"/>
                  </a:lnTo>
                  <a:lnTo>
                    <a:pt x="216" y="504"/>
                  </a:lnTo>
                  <a:lnTo>
                    <a:pt x="210" y="498"/>
                  </a:lnTo>
                  <a:lnTo>
                    <a:pt x="204" y="498"/>
                  </a:lnTo>
                  <a:lnTo>
                    <a:pt x="204" y="492"/>
                  </a:lnTo>
                  <a:lnTo>
                    <a:pt x="198" y="492"/>
                  </a:lnTo>
                  <a:lnTo>
                    <a:pt x="192" y="492"/>
                  </a:lnTo>
                  <a:lnTo>
                    <a:pt x="174" y="486"/>
                  </a:lnTo>
                  <a:lnTo>
                    <a:pt x="168" y="486"/>
                  </a:lnTo>
                  <a:lnTo>
                    <a:pt x="150" y="486"/>
                  </a:lnTo>
                  <a:lnTo>
                    <a:pt x="138" y="480"/>
                  </a:lnTo>
                  <a:lnTo>
                    <a:pt x="132" y="480"/>
                  </a:lnTo>
                  <a:lnTo>
                    <a:pt x="120" y="456"/>
                  </a:lnTo>
                  <a:lnTo>
                    <a:pt x="114" y="444"/>
                  </a:lnTo>
                  <a:lnTo>
                    <a:pt x="108" y="444"/>
                  </a:lnTo>
                  <a:lnTo>
                    <a:pt x="102" y="444"/>
                  </a:lnTo>
                  <a:lnTo>
                    <a:pt x="90" y="438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66" y="426"/>
                  </a:lnTo>
                  <a:lnTo>
                    <a:pt x="60" y="426"/>
                  </a:lnTo>
                  <a:lnTo>
                    <a:pt x="54" y="432"/>
                  </a:lnTo>
                  <a:lnTo>
                    <a:pt x="42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36" y="414"/>
                  </a:lnTo>
                  <a:lnTo>
                    <a:pt x="36" y="390"/>
                  </a:lnTo>
                  <a:lnTo>
                    <a:pt x="24" y="372"/>
                  </a:lnTo>
                  <a:lnTo>
                    <a:pt x="0" y="348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6"/>
                  </a:lnTo>
                  <a:lnTo>
                    <a:pt x="18" y="336"/>
                  </a:lnTo>
                  <a:lnTo>
                    <a:pt x="24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12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30" y="276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24" y="252"/>
                  </a:lnTo>
                  <a:lnTo>
                    <a:pt x="24" y="240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86"/>
                  </a:lnTo>
                  <a:lnTo>
                    <a:pt x="12" y="162"/>
                  </a:lnTo>
                  <a:lnTo>
                    <a:pt x="6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6" y="144"/>
                  </a:lnTo>
                  <a:lnTo>
                    <a:pt x="12" y="14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79" name="Freeform 56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4143" y="1621"/>
              <a:ext cx="586" cy="607"/>
            </a:xfrm>
            <a:custGeom>
              <a:avLst/>
              <a:gdLst>
                <a:gd name="T0" fmla="*/ 2 w 948"/>
                <a:gd name="T1" fmla="*/ 38 h 936"/>
                <a:gd name="T2" fmla="*/ 4 w 948"/>
                <a:gd name="T3" fmla="*/ 36 h 936"/>
                <a:gd name="T4" fmla="*/ 6 w 948"/>
                <a:gd name="T5" fmla="*/ 36 h 936"/>
                <a:gd name="T6" fmla="*/ 8 w 948"/>
                <a:gd name="T7" fmla="*/ 36 h 936"/>
                <a:gd name="T8" fmla="*/ 11 w 948"/>
                <a:gd name="T9" fmla="*/ 32 h 936"/>
                <a:gd name="T10" fmla="*/ 12 w 948"/>
                <a:gd name="T11" fmla="*/ 27 h 936"/>
                <a:gd name="T12" fmla="*/ 14 w 948"/>
                <a:gd name="T13" fmla="*/ 23 h 936"/>
                <a:gd name="T14" fmla="*/ 15 w 948"/>
                <a:gd name="T15" fmla="*/ 19 h 936"/>
                <a:gd name="T16" fmla="*/ 16 w 948"/>
                <a:gd name="T17" fmla="*/ 14 h 936"/>
                <a:gd name="T18" fmla="*/ 17 w 948"/>
                <a:gd name="T19" fmla="*/ 9 h 936"/>
                <a:gd name="T20" fmla="*/ 17 w 948"/>
                <a:gd name="T21" fmla="*/ 4 h 936"/>
                <a:gd name="T22" fmla="*/ 20 w 948"/>
                <a:gd name="T23" fmla="*/ 1 h 936"/>
                <a:gd name="T24" fmla="*/ 22 w 948"/>
                <a:gd name="T25" fmla="*/ 3 h 936"/>
                <a:gd name="T26" fmla="*/ 27 w 948"/>
                <a:gd name="T27" fmla="*/ 4 h 936"/>
                <a:gd name="T28" fmla="*/ 28 w 948"/>
                <a:gd name="T29" fmla="*/ 3 h 936"/>
                <a:gd name="T30" fmla="*/ 30 w 948"/>
                <a:gd name="T31" fmla="*/ 3 h 936"/>
                <a:gd name="T32" fmla="*/ 33 w 948"/>
                <a:gd name="T33" fmla="*/ 1 h 936"/>
                <a:gd name="T34" fmla="*/ 35 w 948"/>
                <a:gd name="T35" fmla="*/ 2 h 936"/>
                <a:gd name="T36" fmla="*/ 36 w 948"/>
                <a:gd name="T37" fmla="*/ 1 h 936"/>
                <a:gd name="T38" fmla="*/ 38 w 948"/>
                <a:gd name="T39" fmla="*/ 1 h 936"/>
                <a:gd name="T40" fmla="*/ 40 w 948"/>
                <a:gd name="T41" fmla="*/ 1 h 936"/>
                <a:gd name="T42" fmla="*/ 41 w 948"/>
                <a:gd name="T43" fmla="*/ 1 h 936"/>
                <a:gd name="T44" fmla="*/ 43 w 948"/>
                <a:gd name="T45" fmla="*/ 3 h 936"/>
                <a:gd name="T46" fmla="*/ 46 w 948"/>
                <a:gd name="T47" fmla="*/ 4 h 936"/>
                <a:gd name="T48" fmla="*/ 46 w 948"/>
                <a:gd name="T49" fmla="*/ 3 h 936"/>
                <a:gd name="T50" fmla="*/ 49 w 948"/>
                <a:gd name="T51" fmla="*/ 3 h 936"/>
                <a:gd name="T52" fmla="*/ 51 w 948"/>
                <a:gd name="T53" fmla="*/ 6 h 936"/>
                <a:gd name="T54" fmla="*/ 51 w 948"/>
                <a:gd name="T55" fmla="*/ 9 h 936"/>
                <a:gd name="T56" fmla="*/ 53 w 948"/>
                <a:gd name="T57" fmla="*/ 12 h 936"/>
                <a:gd name="T58" fmla="*/ 49 w 948"/>
                <a:gd name="T59" fmla="*/ 18 h 936"/>
                <a:gd name="T60" fmla="*/ 48 w 948"/>
                <a:gd name="T61" fmla="*/ 24 h 936"/>
                <a:gd name="T62" fmla="*/ 46 w 948"/>
                <a:gd name="T63" fmla="*/ 27 h 936"/>
                <a:gd name="T64" fmla="*/ 46 w 948"/>
                <a:gd name="T65" fmla="*/ 31 h 936"/>
                <a:gd name="T66" fmla="*/ 48 w 948"/>
                <a:gd name="T67" fmla="*/ 34 h 936"/>
                <a:gd name="T68" fmla="*/ 48 w 948"/>
                <a:gd name="T69" fmla="*/ 40 h 936"/>
                <a:gd name="T70" fmla="*/ 49 w 948"/>
                <a:gd name="T71" fmla="*/ 45 h 936"/>
                <a:gd name="T72" fmla="*/ 49 w 948"/>
                <a:gd name="T73" fmla="*/ 51 h 936"/>
                <a:gd name="T74" fmla="*/ 45 w 948"/>
                <a:gd name="T75" fmla="*/ 55 h 936"/>
                <a:gd name="T76" fmla="*/ 46 w 948"/>
                <a:gd name="T77" fmla="*/ 58 h 936"/>
                <a:gd name="T78" fmla="*/ 46 w 948"/>
                <a:gd name="T79" fmla="*/ 61 h 936"/>
                <a:gd name="T80" fmla="*/ 46 w 948"/>
                <a:gd name="T81" fmla="*/ 65 h 936"/>
                <a:gd name="T82" fmla="*/ 49 w 948"/>
                <a:gd name="T83" fmla="*/ 65 h 936"/>
                <a:gd name="T84" fmla="*/ 46 w 948"/>
                <a:gd name="T85" fmla="*/ 69 h 936"/>
                <a:gd name="T86" fmla="*/ 45 w 948"/>
                <a:gd name="T87" fmla="*/ 66 h 936"/>
                <a:gd name="T88" fmla="*/ 41 w 948"/>
                <a:gd name="T89" fmla="*/ 64 h 936"/>
                <a:gd name="T90" fmla="*/ 40 w 948"/>
                <a:gd name="T91" fmla="*/ 64 h 936"/>
                <a:gd name="T92" fmla="*/ 36 w 948"/>
                <a:gd name="T93" fmla="*/ 63 h 936"/>
                <a:gd name="T94" fmla="*/ 35 w 948"/>
                <a:gd name="T95" fmla="*/ 62 h 936"/>
                <a:gd name="T96" fmla="*/ 33 w 948"/>
                <a:gd name="T97" fmla="*/ 60 h 936"/>
                <a:gd name="T98" fmla="*/ 30 w 948"/>
                <a:gd name="T99" fmla="*/ 60 h 936"/>
                <a:gd name="T100" fmla="*/ 28 w 948"/>
                <a:gd name="T101" fmla="*/ 60 h 936"/>
                <a:gd name="T102" fmla="*/ 27 w 948"/>
                <a:gd name="T103" fmla="*/ 56 h 936"/>
                <a:gd name="T104" fmla="*/ 27 w 948"/>
                <a:gd name="T105" fmla="*/ 51 h 936"/>
                <a:gd name="T106" fmla="*/ 27 w 948"/>
                <a:gd name="T107" fmla="*/ 47 h 936"/>
                <a:gd name="T108" fmla="*/ 20 w 948"/>
                <a:gd name="T109" fmla="*/ 47 h 936"/>
                <a:gd name="T110" fmla="*/ 17 w 948"/>
                <a:gd name="T111" fmla="*/ 50 h 936"/>
                <a:gd name="T112" fmla="*/ 14 w 948"/>
                <a:gd name="T113" fmla="*/ 49 h 936"/>
                <a:gd name="T114" fmla="*/ 12 w 948"/>
                <a:gd name="T115" fmla="*/ 45 h 936"/>
                <a:gd name="T116" fmla="*/ 11 w 948"/>
                <a:gd name="T117" fmla="*/ 42 h 936"/>
                <a:gd name="T118" fmla="*/ 4 w 948"/>
                <a:gd name="T119" fmla="*/ 42 h 936"/>
                <a:gd name="T120" fmla="*/ 1 w 948"/>
                <a:gd name="T121" fmla="*/ 42 h 9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948" h="936">
                  <a:moveTo>
                    <a:pt x="0" y="552"/>
                  </a:moveTo>
                  <a:lnTo>
                    <a:pt x="12" y="552"/>
                  </a:lnTo>
                  <a:lnTo>
                    <a:pt x="12" y="528"/>
                  </a:lnTo>
                  <a:lnTo>
                    <a:pt x="12" y="522"/>
                  </a:lnTo>
                  <a:lnTo>
                    <a:pt x="12" y="516"/>
                  </a:lnTo>
                  <a:lnTo>
                    <a:pt x="18" y="516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30" y="510"/>
                  </a:lnTo>
                  <a:lnTo>
                    <a:pt x="30" y="504"/>
                  </a:lnTo>
                  <a:lnTo>
                    <a:pt x="36" y="504"/>
                  </a:lnTo>
                  <a:lnTo>
                    <a:pt x="36" y="498"/>
                  </a:lnTo>
                  <a:lnTo>
                    <a:pt x="42" y="498"/>
                  </a:lnTo>
                  <a:lnTo>
                    <a:pt x="48" y="498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54" y="510"/>
                  </a:lnTo>
                  <a:lnTo>
                    <a:pt x="60" y="510"/>
                  </a:lnTo>
                  <a:lnTo>
                    <a:pt x="66" y="504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78" y="486"/>
                  </a:lnTo>
                  <a:lnTo>
                    <a:pt x="78" y="492"/>
                  </a:lnTo>
                  <a:lnTo>
                    <a:pt x="84" y="492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6" y="486"/>
                  </a:lnTo>
                  <a:lnTo>
                    <a:pt x="102" y="486"/>
                  </a:lnTo>
                  <a:lnTo>
                    <a:pt x="102" y="480"/>
                  </a:lnTo>
                  <a:lnTo>
                    <a:pt x="108" y="480"/>
                  </a:lnTo>
                  <a:lnTo>
                    <a:pt x="108" y="486"/>
                  </a:lnTo>
                  <a:lnTo>
                    <a:pt x="114" y="486"/>
                  </a:lnTo>
                  <a:lnTo>
                    <a:pt x="108" y="486"/>
                  </a:lnTo>
                  <a:lnTo>
                    <a:pt x="108" y="492"/>
                  </a:lnTo>
                  <a:lnTo>
                    <a:pt x="102" y="492"/>
                  </a:lnTo>
                  <a:lnTo>
                    <a:pt x="102" y="498"/>
                  </a:lnTo>
                  <a:lnTo>
                    <a:pt x="108" y="498"/>
                  </a:lnTo>
                  <a:lnTo>
                    <a:pt x="108" y="504"/>
                  </a:lnTo>
                  <a:lnTo>
                    <a:pt x="108" y="510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6" y="510"/>
                  </a:lnTo>
                  <a:lnTo>
                    <a:pt x="132" y="510"/>
                  </a:lnTo>
                  <a:lnTo>
                    <a:pt x="132" y="504"/>
                  </a:lnTo>
                  <a:lnTo>
                    <a:pt x="132" y="498"/>
                  </a:lnTo>
                  <a:lnTo>
                    <a:pt x="138" y="498"/>
                  </a:lnTo>
                  <a:lnTo>
                    <a:pt x="138" y="492"/>
                  </a:lnTo>
                  <a:lnTo>
                    <a:pt x="144" y="492"/>
                  </a:lnTo>
                  <a:lnTo>
                    <a:pt x="144" y="486"/>
                  </a:lnTo>
                  <a:lnTo>
                    <a:pt x="150" y="480"/>
                  </a:lnTo>
                  <a:lnTo>
                    <a:pt x="156" y="480"/>
                  </a:lnTo>
                  <a:lnTo>
                    <a:pt x="162" y="480"/>
                  </a:lnTo>
                  <a:lnTo>
                    <a:pt x="162" y="474"/>
                  </a:lnTo>
                  <a:lnTo>
                    <a:pt x="162" y="468"/>
                  </a:lnTo>
                  <a:lnTo>
                    <a:pt x="168" y="468"/>
                  </a:lnTo>
                  <a:lnTo>
                    <a:pt x="174" y="468"/>
                  </a:lnTo>
                  <a:lnTo>
                    <a:pt x="180" y="462"/>
                  </a:lnTo>
                  <a:lnTo>
                    <a:pt x="186" y="462"/>
                  </a:lnTo>
                  <a:lnTo>
                    <a:pt x="186" y="456"/>
                  </a:lnTo>
                  <a:lnTo>
                    <a:pt x="192" y="444"/>
                  </a:lnTo>
                  <a:lnTo>
                    <a:pt x="192" y="438"/>
                  </a:lnTo>
                  <a:lnTo>
                    <a:pt x="198" y="438"/>
                  </a:lnTo>
                  <a:lnTo>
                    <a:pt x="198" y="432"/>
                  </a:lnTo>
                  <a:lnTo>
                    <a:pt x="198" y="426"/>
                  </a:lnTo>
                  <a:lnTo>
                    <a:pt x="198" y="420"/>
                  </a:lnTo>
                  <a:lnTo>
                    <a:pt x="198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198" y="396"/>
                  </a:lnTo>
                  <a:lnTo>
                    <a:pt x="198" y="390"/>
                  </a:lnTo>
                  <a:lnTo>
                    <a:pt x="198" y="384"/>
                  </a:lnTo>
                  <a:lnTo>
                    <a:pt x="198" y="378"/>
                  </a:lnTo>
                  <a:lnTo>
                    <a:pt x="198" y="372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16" y="354"/>
                  </a:lnTo>
                  <a:lnTo>
                    <a:pt x="222" y="336"/>
                  </a:lnTo>
                  <a:lnTo>
                    <a:pt x="228" y="336"/>
                  </a:lnTo>
                  <a:lnTo>
                    <a:pt x="228" y="330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40" y="324"/>
                  </a:lnTo>
                  <a:lnTo>
                    <a:pt x="240" y="318"/>
                  </a:lnTo>
                  <a:lnTo>
                    <a:pt x="246" y="318"/>
                  </a:lnTo>
                  <a:lnTo>
                    <a:pt x="252" y="318"/>
                  </a:lnTo>
                  <a:lnTo>
                    <a:pt x="258" y="312"/>
                  </a:lnTo>
                  <a:lnTo>
                    <a:pt x="264" y="306"/>
                  </a:lnTo>
                  <a:lnTo>
                    <a:pt x="264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76" y="288"/>
                  </a:lnTo>
                  <a:lnTo>
                    <a:pt x="270" y="282"/>
                  </a:lnTo>
                  <a:lnTo>
                    <a:pt x="270" y="276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76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82" y="252"/>
                  </a:lnTo>
                  <a:lnTo>
                    <a:pt x="282" y="246"/>
                  </a:lnTo>
                  <a:lnTo>
                    <a:pt x="282" y="240"/>
                  </a:lnTo>
                  <a:lnTo>
                    <a:pt x="282" y="234"/>
                  </a:lnTo>
                  <a:lnTo>
                    <a:pt x="282" y="228"/>
                  </a:lnTo>
                  <a:lnTo>
                    <a:pt x="276" y="222"/>
                  </a:lnTo>
                  <a:lnTo>
                    <a:pt x="276" y="216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2" y="204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288" y="186"/>
                  </a:lnTo>
                  <a:lnTo>
                    <a:pt x="288" y="180"/>
                  </a:lnTo>
                  <a:lnTo>
                    <a:pt x="288" y="174"/>
                  </a:lnTo>
                  <a:lnTo>
                    <a:pt x="288" y="168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94" y="156"/>
                  </a:lnTo>
                  <a:lnTo>
                    <a:pt x="294" y="150"/>
                  </a:lnTo>
                  <a:lnTo>
                    <a:pt x="300" y="144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306" y="120"/>
                  </a:lnTo>
                  <a:lnTo>
                    <a:pt x="312" y="120"/>
                  </a:lnTo>
                  <a:lnTo>
                    <a:pt x="312" y="114"/>
                  </a:lnTo>
                  <a:lnTo>
                    <a:pt x="318" y="114"/>
                  </a:lnTo>
                  <a:lnTo>
                    <a:pt x="318" y="108"/>
                  </a:lnTo>
                  <a:lnTo>
                    <a:pt x="318" y="102"/>
                  </a:lnTo>
                  <a:lnTo>
                    <a:pt x="318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18" y="78"/>
                  </a:lnTo>
                  <a:lnTo>
                    <a:pt x="318" y="72"/>
                  </a:lnTo>
                  <a:lnTo>
                    <a:pt x="318" y="66"/>
                  </a:lnTo>
                  <a:lnTo>
                    <a:pt x="318" y="60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54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84" y="18"/>
                  </a:lnTo>
                  <a:lnTo>
                    <a:pt x="390" y="24"/>
                  </a:lnTo>
                  <a:lnTo>
                    <a:pt x="396" y="24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08" y="42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38" y="54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62" y="54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10" y="54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16" y="42"/>
                  </a:lnTo>
                  <a:lnTo>
                    <a:pt x="516" y="48"/>
                  </a:lnTo>
                  <a:lnTo>
                    <a:pt x="522" y="48"/>
                  </a:lnTo>
                  <a:lnTo>
                    <a:pt x="522" y="42"/>
                  </a:lnTo>
                  <a:lnTo>
                    <a:pt x="522" y="36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28" y="36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36"/>
                  </a:lnTo>
                  <a:lnTo>
                    <a:pt x="540" y="30"/>
                  </a:lnTo>
                  <a:lnTo>
                    <a:pt x="546" y="30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42"/>
                  </a:lnTo>
                  <a:lnTo>
                    <a:pt x="558" y="42"/>
                  </a:lnTo>
                  <a:lnTo>
                    <a:pt x="558" y="36"/>
                  </a:lnTo>
                  <a:lnTo>
                    <a:pt x="564" y="36"/>
                  </a:lnTo>
                  <a:lnTo>
                    <a:pt x="564" y="30"/>
                  </a:lnTo>
                  <a:lnTo>
                    <a:pt x="570" y="30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94" y="24"/>
                  </a:lnTo>
                  <a:lnTo>
                    <a:pt x="594" y="18"/>
                  </a:lnTo>
                  <a:lnTo>
                    <a:pt x="594" y="24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0" y="18"/>
                  </a:lnTo>
                  <a:lnTo>
                    <a:pt x="600" y="12"/>
                  </a:lnTo>
                  <a:lnTo>
                    <a:pt x="606" y="12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18"/>
                  </a:lnTo>
                  <a:lnTo>
                    <a:pt x="636" y="18"/>
                  </a:lnTo>
                  <a:lnTo>
                    <a:pt x="636" y="24"/>
                  </a:lnTo>
                  <a:lnTo>
                    <a:pt x="636" y="18"/>
                  </a:lnTo>
                  <a:lnTo>
                    <a:pt x="642" y="18"/>
                  </a:lnTo>
                  <a:lnTo>
                    <a:pt x="648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48" y="12"/>
                  </a:lnTo>
                  <a:lnTo>
                    <a:pt x="648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2" y="12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90" y="6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702" y="12"/>
                  </a:lnTo>
                  <a:lnTo>
                    <a:pt x="708" y="12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20" y="12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2" y="12"/>
                  </a:lnTo>
                  <a:lnTo>
                    <a:pt x="738" y="6"/>
                  </a:lnTo>
                  <a:lnTo>
                    <a:pt x="738" y="12"/>
                  </a:lnTo>
                  <a:lnTo>
                    <a:pt x="744" y="12"/>
                  </a:lnTo>
                  <a:lnTo>
                    <a:pt x="750" y="12"/>
                  </a:lnTo>
                  <a:lnTo>
                    <a:pt x="756" y="12"/>
                  </a:lnTo>
                  <a:lnTo>
                    <a:pt x="756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68" y="30"/>
                  </a:lnTo>
                  <a:lnTo>
                    <a:pt x="774" y="30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80" y="42"/>
                  </a:lnTo>
                  <a:lnTo>
                    <a:pt x="786" y="42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92" y="54"/>
                  </a:lnTo>
                  <a:lnTo>
                    <a:pt x="798" y="54"/>
                  </a:lnTo>
                  <a:lnTo>
                    <a:pt x="804" y="54"/>
                  </a:lnTo>
                  <a:lnTo>
                    <a:pt x="810" y="54"/>
                  </a:lnTo>
                  <a:lnTo>
                    <a:pt x="810" y="48"/>
                  </a:lnTo>
                  <a:lnTo>
                    <a:pt x="816" y="48"/>
                  </a:lnTo>
                  <a:lnTo>
                    <a:pt x="816" y="42"/>
                  </a:lnTo>
                  <a:lnTo>
                    <a:pt x="822" y="42"/>
                  </a:lnTo>
                  <a:lnTo>
                    <a:pt x="822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34" y="42"/>
                  </a:lnTo>
                  <a:lnTo>
                    <a:pt x="834" y="48"/>
                  </a:lnTo>
                  <a:lnTo>
                    <a:pt x="840" y="48"/>
                  </a:lnTo>
                  <a:lnTo>
                    <a:pt x="840" y="54"/>
                  </a:lnTo>
                  <a:lnTo>
                    <a:pt x="846" y="54"/>
                  </a:lnTo>
                  <a:lnTo>
                    <a:pt x="846" y="48"/>
                  </a:lnTo>
                  <a:lnTo>
                    <a:pt x="852" y="48"/>
                  </a:lnTo>
                  <a:lnTo>
                    <a:pt x="852" y="42"/>
                  </a:lnTo>
                  <a:lnTo>
                    <a:pt x="858" y="42"/>
                  </a:lnTo>
                  <a:lnTo>
                    <a:pt x="858" y="36"/>
                  </a:lnTo>
                  <a:lnTo>
                    <a:pt x="864" y="36"/>
                  </a:lnTo>
                  <a:lnTo>
                    <a:pt x="870" y="36"/>
                  </a:lnTo>
                  <a:lnTo>
                    <a:pt x="870" y="42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70" y="48"/>
                  </a:lnTo>
                  <a:lnTo>
                    <a:pt x="876" y="54"/>
                  </a:lnTo>
                  <a:lnTo>
                    <a:pt x="882" y="54"/>
                  </a:lnTo>
                  <a:lnTo>
                    <a:pt x="882" y="60"/>
                  </a:lnTo>
                  <a:lnTo>
                    <a:pt x="888" y="66"/>
                  </a:lnTo>
                  <a:lnTo>
                    <a:pt x="894" y="66"/>
                  </a:lnTo>
                  <a:lnTo>
                    <a:pt x="894" y="72"/>
                  </a:lnTo>
                  <a:lnTo>
                    <a:pt x="900" y="72"/>
                  </a:lnTo>
                  <a:lnTo>
                    <a:pt x="906" y="72"/>
                  </a:lnTo>
                  <a:lnTo>
                    <a:pt x="906" y="78"/>
                  </a:lnTo>
                  <a:lnTo>
                    <a:pt x="912" y="78"/>
                  </a:lnTo>
                  <a:lnTo>
                    <a:pt x="912" y="84"/>
                  </a:lnTo>
                  <a:lnTo>
                    <a:pt x="912" y="90"/>
                  </a:lnTo>
                  <a:lnTo>
                    <a:pt x="912" y="84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24" y="90"/>
                  </a:lnTo>
                  <a:lnTo>
                    <a:pt x="924" y="96"/>
                  </a:lnTo>
                  <a:lnTo>
                    <a:pt x="930" y="96"/>
                  </a:lnTo>
                  <a:lnTo>
                    <a:pt x="924" y="102"/>
                  </a:lnTo>
                  <a:lnTo>
                    <a:pt x="924" y="108"/>
                  </a:lnTo>
                  <a:lnTo>
                    <a:pt x="918" y="114"/>
                  </a:lnTo>
                  <a:lnTo>
                    <a:pt x="918" y="120"/>
                  </a:lnTo>
                  <a:lnTo>
                    <a:pt x="924" y="120"/>
                  </a:lnTo>
                  <a:lnTo>
                    <a:pt x="924" y="126"/>
                  </a:lnTo>
                  <a:lnTo>
                    <a:pt x="924" y="132"/>
                  </a:lnTo>
                  <a:lnTo>
                    <a:pt x="918" y="138"/>
                  </a:lnTo>
                  <a:lnTo>
                    <a:pt x="918" y="144"/>
                  </a:lnTo>
                  <a:lnTo>
                    <a:pt x="924" y="144"/>
                  </a:lnTo>
                  <a:lnTo>
                    <a:pt x="924" y="150"/>
                  </a:lnTo>
                  <a:lnTo>
                    <a:pt x="930" y="150"/>
                  </a:lnTo>
                  <a:lnTo>
                    <a:pt x="936" y="150"/>
                  </a:lnTo>
                  <a:lnTo>
                    <a:pt x="936" y="156"/>
                  </a:lnTo>
                  <a:lnTo>
                    <a:pt x="942" y="156"/>
                  </a:lnTo>
                  <a:lnTo>
                    <a:pt x="948" y="162"/>
                  </a:lnTo>
                  <a:lnTo>
                    <a:pt x="942" y="168"/>
                  </a:lnTo>
                  <a:lnTo>
                    <a:pt x="936" y="174"/>
                  </a:lnTo>
                  <a:lnTo>
                    <a:pt x="930" y="180"/>
                  </a:lnTo>
                  <a:lnTo>
                    <a:pt x="918" y="192"/>
                  </a:lnTo>
                  <a:lnTo>
                    <a:pt x="906" y="210"/>
                  </a:lnTo>
                  <a:lnTo>
                    <a:pt x="900" y="210"/>
                  </a:lnTo>
                  <a:lnTo>
                    <a:pt x="894" y="210"/>
                  </a:lnTo>
                  <a:lnTo>
                    <a:pt x="894" y="216"/>
                  </a:lnTo>
                  <a:lnTo>
                    <a:pt x="894" y="222"/>
                  </a:lnTo>
                  <a:lnTo>
                    <a:pt x="888" y="222"/>
                  </a:lnTo>
                  <a:lnTo>
                    <a:pt x="882" y="222"/>
                  </a:lnTo>
                  <a:lnTo>
                    <a:pt x="882" y="228"/>
                  </a:lnTo>
                  <a:lnTo>
                    <a:pt x="882" y="234"/>
                  </a:lnTo>
                  <a:lnTo>
                    <a:pt x="882" y="240"/>
                  </a:lnTo>
                  <a:lnTo>
                    <a:pt x="876" y="246"/>
                  </a:lnTo>
                  <a:lnTo>
                    <a:pt x="876" y="252"/>
                  </a:lnTo>
                  <a:lnTo>
                    <a:pt x="876" y="258"/>
                  </a:lnTo>
                  <a:lnTo>
                    <a:pt x="870" y="258"/>
                  </a:lnTo>
                  <a:lnTo>
                    <a:pt x="870" y="264"/>
                  </a:lnTo>
                  <a:lnTo>
                    <a:pt x="870" y="270"/>
                  </a:lnTo>
                  <a:lnTo>
                    <a:pt x="864" y="288"/>
                  </a:lnTo>
                  <a:lnTo>
                    <a:pt x="864" y="294"/>
                  </a:lnTo>
                  <a:lnTo>
                    <a:pt x="864" y="300"/>
                  </a:lnTo>
                  <a:lnTo>
                    <a:pt x="864" y="306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30"/>
                  </a:lnTo>
                  <a:lnTo>
                    <a:pt x="864" y="336"/>
                  </a:lnTo>
                  <a:lnTo>
                    <a:pt x="858" y="336"/>
                  </a:lnTo>
                  <a:lnTo>
                    <a:pt x="858" y="342"/>
                  </a:lnTo>
                  <a:lnTo>
                    <a:pt x="852" y="342"/>
                  </a:lnTo>
                  <a:lnTo>
                    <a:pt x="846" y="342"/>
                  </a:lnTo>
                  <a:lnTo>
                    <a:pt x="846" y="348"/>
                  </a:lnTo>
                  <a:lnTo>
                    <a:pt x="846" y="354"/>
                  </a:lnTo>
                  <a:lnTo>
                    <a:pt x="840" y="354"/>
                  </a:lnTo>
                  <a:lnTo>
                    <a:pt x="840" y="360"/>
                  </a:lnTo>
                  <a:lnTo>
                    <a:pt x="840" y="366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34" y="378"/>
                  </a:lnTo>
                  <a:lnTo>
                    <a:pt x="834" y="384"/>
                  </a:lnTo>
                  <a:lnTo>
                    <a:pt x="828" y="384"/>
                  </a:lnTo>
                  <a:lnTo>
                    <a:pt x="828" y="390"/>
                  </a:lnTo>
                  <a:lnTo>
                    <a:pt x="828" y="396"/>
                  </a:lnTo>
                  <a:lnTo>
                    <a:pt x="828" y="402"/>
                  </a:lnTo>
                  <a:lnTo>
                    <a:pt x="834" y="402"/>
                  </a:lnTo>
                  <a:lnTo>
                    <a:pt x="834" y="408"/>
                  </a:lnTo>
                  <a:lnTo>
                    <a:pt x="834" y="414"/>
                  </a:lnTo>
                  <a:lnTo>
                    <a:pt x="840" y="414"/>
                  </a:lnTo>
                  <a:lnTo>
                    <a:pt x="840" y="420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32"/>
                  </a:lnTo>
                  <a:lnTo>
                    <a:pt x="840" y="432"/>
                  </a:lnTo>
                  <a:lnTo>
                    <a:pt x="846" y="438"/>
                  </a:lnTo>
                  <a:lnTo>
                    <a:pt x="846" y="444"/>
                  </a:lnTo>
                  <a:lnTo>
                    <a:pt x="846" y="450"/>
                  </a:lnTo>
                  <a:lnTo>
                    <a:pt x="846" y="456"/>
                  </a:lnTo>
                  <a:lnTo>
                    <a:pt x="846" y="462"/>
                  </a:lnTo>
                  <a:lnTo>
                    <a:pt x="846" y="468"/>
                  </a:lnTo>
                  <a:lnTo>
                    <a:pt x="852" y="468"/>
                  </a:lnTo>
                  <a:lnTo>
                    <a:pt x="852" y="474"/>
                  </a:lnTo>
                  <a:lnTo>
                    <a:pt x="852" y="486"/>
                  </a:lnTo>
                  <a:lnTo>
                    <a:pt x="852" y="492"/>
                  </a:lnTo>
                  <a:lnTo>
                    <a:pt x="846" y="498"/>
                  </a:lnTo>
                  <a:lnTo>
                    <a:pt x="846" y="504"/>
                  </a:lnTo>
                  <a:lnTo>
                    <a:pt x="846" y="510"/>
                  </a:lnTo>
                  <a:lnTo>
                    <a:pt x="852" y="516"/>
                  </a:lnTo>
                  <a:lnTo>
                    <a:pt x="852" y="522"/>
                  </a:lnTo>
                  <a:lnTo>
                    <a:pt x="852" y="528"/>
                  </a:lnTo>
                  <a:lnTo>
                    <a:pt x="858" y="534"/>
                  </a:lnTo>
                  <a:lnTo>
                    <a:pt x="858" y="546"/>
                  </a:lnTo>
                  <a:lnTo>
                    <a:pt x="864" y="546"/>
                  </a:lnTo>
                  <a:lnTo>
                    <a:pt x="864" y="552"/>
                  </a:lnTo>
                  <a:lnTo>
                    <a:pt x="864" y="558"/>
                  </a:lnTo>
                  <a:lnTo>
                    <a:pt x="858" y="564"/>
                  </a:lnTo>
                  <a:lnTo>
                    <a:pt x="858" y="570"/>
                  </a:lnTo>
                  <a:lnTo>
                    <a:pt x="864" y="576"/>
                  </a:lnTo>
                  <a:lnTo>
                    <a:pt x="864" y="582"/>
                  </a:lnTo>
                  <a:lnTo>
                    <a:pt x="864" y="588"/>
                  </a:lnTo>
                  <a:lnTo>
                    <a:pt x="870" y="594"/>
                  </a:lnTo>
                  <a:lnTo>
                    <a:pt x="876" y="600"/>
                  </a:lnTo>
                  <a:lnTo>
                    <a:pt x="888" y="606"/>
                  </a:lnTo>
                  <a:lnTo>
                    <a:pt x="888" y="612"/>
                  </a:lnTo>
                  <a:lnTo>
                    <a:pt x="894" y="618"/>
                  </a:lnTo>
                  <a:lnTo>
                    <a:pt x="900" y="630"/>
                  </a:lnTo>
                  <a:lnTo>
                    <a:pt x="900" y="636"/>
                  </a:lnTo>
                  <a:lnTo>
                    <a:pt x="906" y="648"/>
                  </a:lnTo>
                  <a:lnTo>
                    <a:pt x="912" y="660"/>
                  </a:lnTo>
                  <a:lnTo>
                    <a:pt x="912" y="666"/>
                  </a:lnTo>
                  <a:lnTo>
                    <a:pt x="918" y="666"/>
                  </a:lnTo>
                  <a:lnTo>
                    <a:pt x="918" y="672"/>
                  </a:lnTo>
                  <a:lnTo>
                    <a:pt x="918" y="678"/>
                  </a:lnTo>
                  <a:lnTo>
                    <a:pt x="912" y="678"/>
                  </a:lnTo>
                  <a:lnTo>
                    <a:pt x="900" y="678"/>
                  </a:lnTo>
                  <a:lnTo>
                    <a:pt x="888" y="678"/>
                  </a:lnTo>
                  <a:lnTo>
                    <a:pt x="882" y="678"/>
                  </a:lnTo>
                  <a:lnTo>
                    <a:pt x="876" y="684"/>
                  </a:lnTo>
                  <a:lnTo>
                    <a:pt x="864" y="684"/>
                  </a:lnTo>
                  <a:lnTo>
                    <a:pt x="828" y="690"/>
                  </a:lnTo>
                  <a:lnTo>
                    <a:pt x="828" y="696"/>
                  </a:lnTo>
                  <a:lnTo>
                    <a:pt x="828" y="702"/>
                  </a:lnTo>
                  <a:lnTo>
                    <a:pt x="822" y="714"/>
                  </a:lnTo>
                  <a:lnTo>
                    <a:pt x="816" y="714"/>
                  </a:lnTo>
                  <a:lnTo>
                    <a:pt x="816" y="720"/>
                  </a:lnTo>
                  <a:lnTo>
                    <a:pt x="804" y="720"/>
                  </a:lnTo>
                  <a:lnTo>
                    <a:pt x="804" y="726"/>
                  </a:lnTo>
                  <a:lnTo>
                    <a:pt x="798" y="732"/>
                  </a:lnTo>
                  <a:lnTo>
                    <a:pt x="804" y="732"/>
                  </a:lnTo>
                  <a:lnTo>
                    <a:pt x="804" y="738"/>
                  </a:lnTo>
                  <a:lnTo>
                    <a:pt x="804" y="732"/>
                  </a:lnTo>
                  <a:lnTo>
                    <a:pt x="810" y="732"/>
                  </a:lnTo>
                  <a:lnTo>
                    <a:pt x="810" y="738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50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16" y="774"/>
                  </a:lnTo>
                  <a:lnTo>
                    <a:pt x="810" y="774"/>
                  </a:lnTo>
                  <a:lnTo>
                    <a:pt x="810" y="780"/>
                  </a:lnTo>
                  <a:lnTo>
                    <a:pt x="816" y="780"/>
                  </a:lnTo>
                  <a:lnTo>
                    <a:pt x="816" y="786"/>
                  </a:lnTo>
                  <a:lnTo>
                    <a:pt x="816" y="792"/>
                  </a:lnTo>
                  <a:lnTo>
                    <a:pt x="816" y="798"/>
                  </a:lnTo>
                  <a:lnTo>
                    <a:pt x="810" y="798"/>
                  </a:lnTo>
                  <a:lnTo>
                    <a:pt x="810" y="804"/>
                  </a:lnTo>
                  <a:lnTo>
                    <a:pt x="810" y="810"/>
                  </a:lnTo>
                  <a:lnTo>
                    <a:pt x="810" y="816"/>
                  </a:lnTo>
                  <a:lnTo>
                    <a:pt x="804" y="816"/>
                  </a:lnTo>
                  <a:lnTo>
                    <a:pt x="804" y="822"/>
                  </a:lnTo>
                  <a:lnTo>
                    <a:pt x="810" y="822"/>
                  </a:lnTo>
                  <a:lnTo>
                    <a:pt x="804" y="822"/>
                  </a:lnTo>
                  <a:lnTo>
                    <a:pt x="804" y="828"/>
                  </a:lnTo>
                  <a:lnTo>
                    <a:pt x="804" y="834"/>
                  </a:lnTo>
                  <a:lnTo>
                    <a:pt x="804" y="840"/>
                  </a:lnTo>
                  <a:lnTo>
                    <a:pt x="804" y="846"/>
                  </a:lnTo>
                  <a:lnTo>
                    <a:pt x="804" y="852"/>
                  </a:lnTo>
                  <a:lnTo>
                    <a:pt x="804" y="858"/>
                  </a:lnTo>
                  <a:lnTo>
                    <a:pt x="804" y="852"/>
                  </a:lnTo>
                  <a:lnTo>
                    <a:pt x="810" y="858"/>
                  </a:lnTo>
                  <a:lnTo>
                    <a:pt x="816" y="858"/>
                  </a:lnTo>
                  <a:lnTo>
                    <a:pt x="816" y="864"/>
                  </a:lnTo>
                  <a:lnTo>
                    <a:pt x="822" y="864"/>
                  </a:lnTo>
                  <a:lnTo>
                    <a:pt x="822" y="870"/>
                  </a:lnTo>
                  <a:lnTo>
                    <a:pt x="828" y="870"/>
                  </a:lnTo>
                  <a:lnTo>
                    <a:pt x="828" y="876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40" y="882"/>
                  </a:lnTo>
                  <a:lnTo>
                    <a:pt x="846" y="882"/>
                  </a:lnTo>
                  <a:lnTo>
                    <a:pt x="852" y="882"/>
                  </a:lnTo>
                  <a:lnTo>
                    <a:pt x="858" y="888"/>
                  </a:lnTo>
                  <a:lnTo>
                    <a:pt x="858" y="882"/>
                  </a:lnTo>
                  <a:lnTo>
                    <a:pt x="852" y="882"/>
                  </a:lnTo>
                  <a:lnTo>
                    <a:pt x="858" y="876"/>
                  </a:lnTo>
                  <a:lnTo>
                    <a:pt x="864" y="876"/>
                  </a:lnTo>
                  <a:lnTo>
                    <a:pt x="870" y="870"/>
                  </a:lnTo>
                  <a:lnTo>
                    <a:pt x="870" y="936"/>
                  </a:lnTo>
                  <a:lnTo>
                    <a:pt x="864" y="936"/>
                  </a:lnTo>
                  <a:lnTo>
                    <a:pt x="864" y="930"/>
                  </a:lnTo>
                  <a:lnTo>
                    <a:pt x="864" y="924"/>
                  </a:lnTo>
                  <a:lnTo>
                    <a:pt x="858" y="924"/>
                  </a:lnTo>
                  <a:lnTo>
                    <a:pt x="852" y="930"/>
                  </a:lnTo>
                  <a:lnTo>
                    <a:pt x="846" y="930"/>
                  </a:lnTo>
                  <a:lnTo>
                    <a:pt x="846" y="936"/>
                  </a:lnTo>
                  <a:lnTo>
                    <a:pt x="840" y="936"/>
                  </a:lnTo>
                  <a:lnTo>
                    <a:pt x="840" y="930"/>
                  </a:lnTo>
                  <a:lnTo>
                    <a:pt x="834" y="930"/>
                  </a:lnTo>
                  <a:lnTo>
                    <a:pt x="834" y="936"/>
                  </a:lnTo>
                  <a:lnTo>
                    <a:pt x="834" y="930"/>
                  </a:lnTo>
                  <a:lnTo>
                    <a:pt x="828" y="930"/>
                  </a:lnTo>
                  <a:lnTo>
                    <a:pt x="828" y="924"/>
                  </a:lnTo>
                  <a:lnTo>
                    <a:pt x="828" y="918"/>
                  </a:lnTo>
                  <a:lnTo>
                    <a:pt x="822" y="918"/>
                  </a:lnTo>
                  <a:lnTo>
                    <a:pt x="822" y="912"/>
                  </a:lnTo>
                  <a:lnTo>
                    <a:pt x="822" y="906"/>
                  </a:lnTo>
                  <a:lnTo>
                    <a:pt x="816" y="906"/>
                  </a:lnTo>
                  <a:lnTo>
                    <a:pt x="810" y="906"/>
                  </a:lnTo>
                  <a:lnTo>
                    <a:pt x="804" y="900"/>
                  </a:lnTo>
                  <a:lnTo>
                    <a:pt x="810" y="900"/>
                  </a:lnTo>
                  <a:lnTo>
                    <a:pt x="810" y="894"/>
                  </a:lnTo>
                  <a:lnTo>
                    <a:pt x="804" y="894"/>
                  </a:lnTo>
                  <a:lnTo>
                    <a:pt x="804" y="888"/>
                  </a:lnTo>
                  <a:lnTo>
                    <a:pt x="798" y="882"/>
                  </a:lnTo>
                  <a:lnTo>
                    <a:pt x="792" y="882"/>
                  </a:lnTo>
                  <a:lnTo>
                    <a:pt x="786" y="888"/>
                  </a:lnTo>
                  <a:lnTo>
                    <a:pt x="786" y="882"/>
                  </a:lnTo>
                  <a:lnTo>
                    <a:pt x="780" y="882"/>
                  </a:lnTo>
                  <a:lnTo>
                    <a:pt x="780" y="876"/>
                  </a:lnTo>
                  <a:lnTo>
                    <a:pt x="774" y="876"/>
                  </a:lnTo>
                  <a:lnTo>
                    <a:pt x="768" y="876"/>
                  </a:lnTo>
                  <a:lnTo>
                    <a:pt x="762" y="876"/>
                  </a:lnTo>
                  <a:lnTo>
                    <a:pt x="756" y="870"/>
                  </a:lnTo>
                  <a:lnTo>
                    <a:pt x="756" y="864"/>
                  </a:lnTo>
                  <a:lnTo>
                    <a:pt x="756" y="858"/>
                  </a:lnTo>
                  <a:lnTo>
                    <a:pt x="750" y="858"/>
                  </a:lnTo>
                  <a:lnTo>
                    <a:pt x="750" y="852"/>
                  </a:lnTo>
                  <a:lnTo>
                    <a:pt x="744" y="852"/>
                  </a:lnTo>
                  <a:lnTo>
                    <a:pt x="744" y="846"/>
                  </a:lnTo>
                  <a:lnTo>
                    <a:pt x="744" y="840"/>
                  </a:lnTo>
                  <a:lnTo>
                    <a:pt x="738" y="846"/>
                  </a:lnTo>
                  <a:lnTo>
                    <a:pt x="732" y="846"/>
                  </a:lnTo>
                  <a:lnTo>
                    <a:pt x="738" y="846"/>
                  </a:lnTo>
                  <a:lnTo>
                    <a:pt x="732" y="852"/>
                  </a:lnTo>
                  <a:lnTo>
                    <a:pt x="732" y="858"/>
                  </a:lnTo>
                  <a:lnTo>
                    <a:pt x="726" y="864"/>
                  </a:lnTo>
                  <a:lnTo>
                    <a:pt x="720" y="864"/>
                  </a:lnTo>
                  <a:lnTo>
                    <a:pt x="714" y="864"/>
                  </a:lnTo>
                  <a:lnTo>
                    <a:pt x="708" y="864"/>
                  </a:lnTo>
                  <a:lnTo>
                    <a:pt x="708" y="858"/>
                  </a:lnTo>
                  <a:lnTo>
                    <a:pt x="702" y="858"/>
                  </a:lnTo>
                  <a:lnTo>
                    <a:pt x="702" y="864"/>
                  </a:lnTo>
                  <a:lnTo>
                    <a:pt x="696" y="864"/>
                  </a:lnTo>
                  <a:lnTo>
                    <a:pt x="696" y="858"/>
                  </a:lnTo>
                  <a:lnTo>
                    <a:pt x="690" y="858"/>
                  </a:lnTo>
                  <a:lnTo>
                    <a:pt x="684" y="858"/>
                  </a:lnTo>
                  <a:lnTo>
                    <a:pt x="678" y="858"/>
                  </a:lnTo>
                  <a:lnTo>
                    <a:pt x="678" y="852"/>
                  </a:lnTo>
                  <a:lnTo>
                    <a:pt x="672" y="852"/>
                  </a:lnTo>
                  <a:lnTo>
                    <a:pt x="666" y="852"/>
                  </a:lnTo>
                  <a:lnTo>
                    <a:pt x="660" y="852"/>
                  </a:lnTo>
                  <a:lnTo>
                    <a:pt x="660" y="846"/>
                  </a:lnTo>
                  <a:lnTo>
                    <a:pt x="654" y="846"/>
                  </a:lnTo>
                  <a:lnTo>
                    <a:pt x="648" y="846"/>
                  </a:lnTo>
                  <a:lnTo>
                    <a:pt x="648" y="840"/>
                  </a:lnTo>
                  <a:lnTo>
                    <a:pt x="648" y="834"/>
                  </a:lnTo>
                  <a:lnTo>
                    <a:pt x="648" y="828"/>
                  </a:lnTo>
                  <a:lnTo>
                    <a:pt x="648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0" y="828"/>
                  </a:lnTo>
                  <a:lnTo>
                    <a:pt x="624" y="828"/>
                  </a:lnTo>
                  <a:lnTo>
                    <a:pt x="618" y="828"/>
                  </a:lnTo>
                  <a:lnTo>
                    <a:pt x="618" y="834"/>
                  </a:lnTo>
                  <a:lnTo>
                    <a:pt x="612" y="834"/>
                  </a:lnTo>
                  <a:lnTo>
                    <a:pt x="606" y="834"/>
                  </a:lnTo>
                  <a:lnTo>
                    <a:pt x="606" y="840"/>
                  </a:lnTo>
                  <a:lnTo>
                    <a:pt x="606" y="834"/>
                  </a:lnTo>
                  <a:lnTo>
                    <a:pt x="600" y="834"/>
                  </a:lnTo>
                  <a:lnTo>
                    <a:pt x="600" y="828"/>
                  </a:lnTo>
                  <a:lnTo>
                    <a:pt x="606" y="828"/>
                  </a:lnTo>
                  <a:lnTo>
                    <a:pt x="606" y="822"/>
                  </a:lnTo>
                  <a:lnTo>
                    <a:pt x="600" y="816"/>
                  </a:lnTo>
                  <a:lnTo>
                    <a:pt x="594" y="816"/>
                  </a:lnTo>
                  <a:lnTo>
                    <a:pt x="588" y="816"/>
                  </a:lnTo>
                  <a:lnTo>
                    <a:pt x="594" y="810"/>
                  </a:lnTo>
                  <a:lnTo>
                    <a:pt x="588" y="810"/>
                  </a:lnTo>
                  <a:lnTo>
                    <a:pt x="582" y="810"/>
                  </a:lnTo>
                  <a:lnTo>
                    <a:pt x="576" y="816"/>
                  </a:lnTo>
                  <a:lnTo>
                    <a:pt x="570" y="816"/>
                  </a:lnTo>
                  <a:lnTo>
                    <a:pt x="564" y="816"/>
                  </a:lnTo>
                  <a:lnTo>
                    <a:pt x="564" y="810"/>
                  </a:lnTo>
                  <a:lnTo>
                    <a:pt x="558" y="810"/>
                  </a:lnTo>
                  <a:lnTo>
                    <a:pt x="552" y="810"/>
                  </a:lnTo>
                  <a:lnTo>
                    <a:pt x="552" y="816"/>
                  </a:lnTo>
                  <a:lnTo>
                    <a:pt x="546" y="816"/>
                  </a:lnTo>
                  <a:lnTo>
                    <a:pt x="540" y="816"/>
                  </a:lnTo>
                  <a:lnTo>
                    <a:pt x="540" y="822"/>
                  </a:lnTo>
                  <a:lnTo>
                    <a:pt x="534" y="822"/>
                  </a:lnTo>
                  <a:lnTo>
                    <a:pt x="534" y="816"/>
                  </a:lnTo>
                  <a:lnTo>
                    <a:pt x="528" y="816"/>
                  </a:lnTo>
                  <a:lnTo>
                    <a:pt x="522" y="816"/>
                  </a:lnTo>
                  <a:lnTo>
                    <a:pt x="522" y="822"/>
                  </a:lnTo>
                  <a:lnTo>
                    <a:pt x="516" y="816"/>
                  </a:lnTo>
                  <a:lnTo>
                    <a:pt x="510" y="816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28"/>
                  </a:lnTo>
                  <a:lnTo>
                    <a:pt x="498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92" y="810"/>
                  </a:lnTo>
                  <a:lnTo>
                    <a:pt x="492" y="804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498" y="798"/>
                  </a:lnTo>
                  <a:lnTo>
                    <a:pt x="498" y="792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498" y="774"/>
                  </a:lnTo>
                  <a:lnTo>
                    <a:pt x="498" y="768"/>
                  </a:lnTo>
                  <a:lnTo>
                    <a:pt x="492" y="762"/>
                  </a:lnTo>
                  <a:lnTo>
                    <a:pt x="492" y="756"/>
                  </a:lnTo>
                  <a:lnTo>
                    <a:pt x="486" y="756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74" y="732"/>
                  </a:lnTo>
                  <a:lnTo>
                    <a:pt x="474" y="726"/>
                  </a:lnTo>
                  <a:lnTo>
                    <a:pt x="480" y="726"/>
                  </a:lnTo>
                  <a:lnTo>
                    <a:pt x="474" y="720"/>
                  </a:lnTo>
                  <a:lnTo>
                    <a:pt x="480" y="720"/>
                  </a:lnTo>
                  <a:lnTo>
                    <a:pt x="480" y="714"/>
                  </a:lnTo>
                  <a:lnTo>
                    <a:pt x="480" y="708"/>
                  </a:lnTo>
                  <a:lnTo>
                    <a:pt x="480" y="702"/>
                  </a:lnTo>
                  <a:lnTo>
                    <a:pt x="480" y="696"/>
                  </a:lnTo>
                  <a:lnTo>
                    <a:pt x="480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80" y="672"/>
                  </a:lnTo>
                  <a:lnTo>
                    <a:pt x="474" y="666"/>
                  </a:lnTo>
                  <a:lnTo>
                    <a:pt x="474" y="660"/>
                  </a:lnTo>
                  <a:lnTo>
                    <a:pt x="474" y="654"/>
                  </a:lnTo>
                  <a:lnTo>
                    <a:pt x="474" y="648"/>
                  </a:lnTo>
                  <a:lnTo>
                    <a:pt x="474" y="642"/>
                  </a:lnTo>
                  <a:lnTo>
                    <a:pt x="480" y="642"/>
                  </a:lnTo>
                  <a:lnTo>
                    <a:pt x="474" y="642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74" y="630"/>
                  </a:lnTo>
                  <a:lnTo>
                    <a:pt x="432" y="630"/>
                  </a:lnTo>
                  <a:lnTo>
                    <a:pt x="414" y="630"/>
                  </a:lnTo>
                  <a:lnTo>
                    <a:pt x="414" y="624"/>
                  </a:lnTo>
                  <a:lnTo>
                    <a:pt x="414" y="618"/>
                  </a:lnTo>
                  <a:lnTo>
                    <a:pt x="414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360" y="618"/>
                  </a:lnTo>
                  <a:lnTo>
                    <a:pt x="366" y="618"/>
                  </a:lnTo>
                  <a:lnTo>
                    <a:pt x="360" y="618"/>
                  </a:lnTo>
                  <a:lnTo>
                    <a:pt x="360" y="624"/>
                  </a:lnTo>
                  <a:lnTo>
                    <a:pt x="360" y="630"/>
                  </a:lnTo>
                  <a:lnTo>
                    <a:pt x="360" y="636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54" y="654"/>
                  </a:lnTo>
                  <a:lnTo>
                    <a:pt x="354" y="660"/>
                  </a:lnTo>
                  <a:lnTo>
                    <a:pt x="354" y="666"/>
                  </a:lnTo>
                  <a:lnTo>
                    <a:pt x="324" y="666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12" y="666"/>
                  </a:lnTo>
                  <a:lnTo>
                    <a:pt x="306" y="666"/>
                  </a:lnTo>
                  <a:lnTo>
                    <a:pt x="300" y="666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82" y="672"/>
                  </a:lnTo>
                  <a:lnTo>
                    <a:pt x="282" y="666"/>
                  </a:lnTo>
                  <a:lnTo>
                    <a:pt x="276" y="672"/>
                  </a:lnTo>
                  <a:lnTo>
                    <a:pt x="270" y="672"/>
                  </a:lnTo>
                  <a:lnTo>
                    <a:pt x="264" y="672"/>
                  </a:lnTo>
                  <a:lnTo>
                    <a:pt x="264" y="666"/>
                  </a:lnTo>
                  <a:lnTo>
                    <a:pt x="258" y="666"/>
                  </a:lnTo>
                  <a:lnTo>
                    <a:pt x="258" y="660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52" y="648"/>
                  </a:lnTo>
                  <a:lnTo>
                    <a:pt x="246" y="648"/>
                  </a:lnTo>
                  <a:lnTo>
                    <a:pt x="246" y="642"/>
                  </a:lnTo>
                  <a:lnTo>
                    <a:pt x="246" y="636"/>
                  </a:lnTo>
                  <a:lnTo>
                    <a:pt x="240" y="636"/>
                  </a:lnTo>
                  <a:lnTo>
                    <a:pt x="240" y="630"/>
                  </a:lnTo>
                  <a:lnTo>
                    <a:pt x="234" y="630"/>
                  </a:lnTo>
                  <a:lnTo>
                    <a:pt x="234" y="624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8" y="600"/>
                  </a:lnTo>
                  <a:lnTo>
                    <a:pt x="228" y="594"/>
                  </a:lnTo>
                  <a:lnTo>
                    <a:pt x="222" y="594"/>
                  </a:lnTo>
                  <a:lnTo>
                    <a:pt x="222" y="588"/>
                  </a:lnTo>
                  <a:lnTo>
                    <a:pt x="222" y="582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80" y="558"/>
                  </a:lnTo>
                  <a:lnTo>
                    <a:pt x="168" y="558"/>
                  </a:lnTo>
                  <a:lnTo>
                    <a:pt x="162" y="558"/>
                  </a:lnTo>
                  <a:lnTo>
                    <a:pt x="144" y="558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2" y="558"/>
                  </a:lnTo>
                  <a:lnTo>
                    <a:pt x="96" y="558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78" y="558"/>
                  </a:lnTo>
                  <a:lnTo>
                    <a:pt x="66" y="558"/>
                  </a:lnTo>
                  <a:lnTo>
                    <a:pt x="60" y="558"/>
                  </a:lnTo>
                  <a:lnTo>
                    <a:pt x="54" y="558"/>
                  </a:lnTo>
                  <a:lnTo>
                    <a:pt x="48" y="558"/>
                  </a:lnTo>
                  <a:lnTo>
                    <a:pt x="42" y="558"/>
                  </a:lnTo>
                  <a:lnTo>
                    <a:pt x="36" y="558"/>
                  </a:lnTo>
                  <a:lnTo>
                    <a:pt x="30" y="558"/>
                  </a:lnTo>
                  <a:lnTo>
                    <a:pt x="30" y="564"/>
                  </a:lnTo>
                  <a:lnTo>
                    <a:pt x="24" y="564"/>
                  </a:lnTo>
                  <a:lnTo>
                    <a:pt x="18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6" y="564"/>
                  </a:lnTo>
                  <a:lnTo>
                    <a:pt x="0" y="558"/>
                  </a:lnTo>
                  <a:lnTo>
                    <a:pt x="0" y="552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80" name="Freeform 57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4695" y="2129"/>
              <a:ext cx="322" cy="532"/>
            </a:xfrm>
            <a:custGeom>
              <a:avLst/>
              <a:gdLst>
                <a:gd name="T0" fmla="*/ 1 w 884"/>
                <a:gd name="T1" fmla="*/ 1 h 1393"/>
                <a:gd name="T2" fmla="*/ 1 w 884"/>
                <a:gd name="T3" fmla="*/ 1 h 1393"/>
                <a:gd name="T4" fmla="*/ 1 w 884"/>
                <a:gd name="T5" fmla="*/ 1 h 1393"/>
                <a:gd name="T6" fmla="*/ 1 w 884"/>
                <a:gd name="T7" fmla="*/ 2 h 1393"/>
                <a:gd name="T8" fmla="*/ 1 w 884"/>
                <a:gd name="T9" fmla="*/ 2 h 1393"/>
                <a:gd name="T10" fmla="*/ 1 w 884"/>
                <a:gd name="T11" fmla="*/ 2 h 1393"/>
                <a:gd name="T12" fmla="*/ 1 w 884"/>
                <a:gd name="T13" fmla="*/ 2 h 1393"/>
                <a:gd name="T14" fmla="*/ 1 w 884"/>
                <a:gd name="T15" fmla="*/ 1 h 1393"/>
                <a:gd name="T16" fmla="*/ 1 w 884"/>
                <a:gd name="T17" fmla="*/ 0 h 1393"/>
                <a:gd name="T18" fmla="*/ 1 w 884"/>
                <a:gd name="T19" fmla="*/ 0 h 1393"/>
                <a:gd name="T20" fmla="*/ 1 w 884"/>
                <a:gd name="T21" fmla="*/ 0 h 1393"/>
                <a:gd name="T22" fmla="*/ 1 w 884"/>
                <a:gd name="T23" fmla="*/ 0 h 1393"/>
                <a:gd name="T24" fmla="*/ 1 w 884"/>
                <a:gd name="T25" fmla="*/ 0 h 1393"/>
                <a:gd name="T26" fmla="*/ 2 w 884"/>
                <a:gd name="T27" fmla="*/ 0 h 1393"/>
                <a:gd name="T28" fmla="*/ 2 w 884"/>
                <a:gd name="T29" fmla="*/ 0 h 1393"/>
                <a:gd name="T30" fmla="*/ 2 w 884"/>
                <a:gd name="T31" fmla="*/ 0 h 1393"/>
                <a:gd name="T32" fmla="*/ 2 w 884"/>
                <a:gd name="T33" fmla="*/ 0 h 1393"/>
                <a:gd name="T34" fmla="*/ 2 w 884"/>
                <a:gd name="T35" fmla="*/ 0 h 1393"/>
                <a:gd name="T36" fmla="*/ 2 w 884"/>
                <a:gd name="T37" fmla="*/ 1 h 1393"/>
                <a:gd name="T38" fmla="*/ 2 w 884"/>
                <a:gd name="T39" fmla="*/ 1 h 1393"/>
                <a:gd name="T40" fmla="*/ 2 w 884"/>
                <a:gd name="T41" fmla="*/ 1 h 1393"/>
                <a:gd name="T42" fmla="*/ 2 w 884"/>
                <a:gd name="T43" fmla="*/ 1 h 1393"/>
                <a:gd name="T44" fmla="*/ 2 w 884"/>
                <a:gd name="T45" fmla="*/ 1 h 1393"/>
                <a:gd name="T46" fmla="*/ 2 w 884"/>
                <a:gd name="T47" fmla="*/ 1 h 1393"/>
                <a:gd name="T48" fmla="*/ 2 w 884"/>
                <a:gd name="T49" fmla="*/ 1 h 1393"/>
                <a:gd name="T50" fmla="*/ 2 w 884"/>
                <a:gd name="T51" fmla="*/ 1 h 1393"/>
                <a:gd name="T52" fmla="*/ 2 w 884"/>
                <a:gd name="T53" fmla="*/ 2 h 1393"/>
                <a:gd name="T54" fmla="*/ 2 w 884"/>
                <a:gd name="T55" fmla="*/ 2 h 1393"/>
                <a:gd name="T56" fmla="*/ 2 w 884"/>
                <a:gd name="T57" fmla="*/ 2 h 1393"/>
                <a:gd name="T58" fmla="*/ 1 w 884"/>
                <a:gd name="T59" fmla="*/ 2 h 1393"/>
                <a:gd name="T60" fmla="*/ 1 w 884"/>
                <a:gd name="T61" fmla="*/ 2 h 1393"/>
                <a:gd name="T62" fmla="*/ 1 w 884"/>
                <a:gd name="T63" fmla="*/ 2 h 1393"/>
                <a:gd name="T64" fmla="*/ 1 w 884"/>
                <a:gd name="T65" fmla="*/ 2 h 1393"/>
                <a:gd name="T66" fmla="*/ 1 w 884"/>
                <a:gd name="T67" fmla="*/ 2 h 1393"/>
                <a:gd name="T68" fmla="*/ 1 w 884"/>
                <a:gd name="T69" fmla="*/ 2 h 1393"/>
                <a:gd name="T70" fmla="*/ 1 w 884"/>
                <a:gd name="T71" fmla="*/ 2 h 1393"/>
                <a:gd name="T72" fmla="*/ 1 w 884"/>
                <a:gd name="T73" fmla="*/ 2 h 1393"/>
                <a:gd name="T74" fmla="*/ 1 w 884"/>
                <a:gd name="T75" fmla="*/ 2 h 1393"/>
                <a:gd name="T76" fmla="*/ 1 w 884"/>
                <a:gd name="T77" fmla="*/ 3 h 1393"/>
                <a:gd name="T78" fmla="*/ 1 w 884"/>
                <a:gd name="T79" fmla="*/ 3 h 1393"/>
                <a:gd name="T80" fmla="*/ 1 w 884"/>
                <a:gd name="T81" fmla="*/ 3 h 1393"/>
                <a:gd name="T82" fmla="*/ 1 w 884"/>
                <a:gd name="T83" fmla="*/ 3 h 1393"/>
                <a:gd name="T84" fmla="*/ 1 w 884"/>
                <a:gd name="T85" fmla="*/ 3 h 1393"/>
                <a:gd name="T86" fmla="*/ 1 w 884"/>
                <a:gd name="T87" fmla="*/ 3 h 1393"/>
                <a:gd name="T88" fmla="*/ 1 w 884"/>
                <a:gd name="T89" fmla="*/ 3 h 1393"/>
                <a:gd name="T90" fmla="*/ 1 w 884"/>
                <a:gd name="T91" fmla="*/ 3 h 1393"/>
                <a:gd name="T92" fmla="*/ 1 w 884"/>
                <a:gd name="T93" fmla="*/ 3 h 1393"/>
                <a:gd name="T94" fmla="*/ 1 w 884"/>
                <a:gd name="T95" fmla="*/ 4 h 1393"/>
                <a:gd name="T96" fmla="*/ 1 w 884"/>
                <a:gd name="T97" fmla="*/ 4 h 1393"/>
                <a:gd name="T98" fmla="*/ 0 w 884"/>
                <a:gd name="T99" fmla="*/ 4 h 1393"/>
                <a:gd name="T100" fmla="*/ 0 w 884"/>
                <a:gd name="T101" fmla="*/ 4 h 1393"/>
                <a:gd name="T102" fmla="*/ 0 w 884"/>
                <a:gd name="T103" fmla="*/ 4 h 1393"/>
                <a:gd name="T104" fmla="*/ 0 w 884"/>
                <a:gd name="T105" fmla="*/ 4 h 1393"/>
                <a:gd name="T106" fmla="*/ 0 w 884"/>
                <a:gd name="T107" fmla="*/ 3 h 1393"/>
                <a:gd name="T108" fmla="*/ 0 w 884"/>
                <a:gd name="T109" fmla="*/ 3 h 1393"/>
                <a:gd name="T110" fmla="*/ 0 w 884"/>
                <a:gd name="T111" fmla="*/ 2 h 1393"/>
                <a:gd name="T112" fmla="*/ 0 w 884"/>
                <a:gd name="T113" fmla="*/ 2 h 1393"/>
                <a:gd name="T114" fmla="*/ 0 w 884"/>
                <a:gd name="T115" fmla="*/ 2 h 1393"/>
                <a:gd name="T116" fmla="*/ 0 w 884"/>
                <a:gd name="T117" fmla="*/ 2 h 1393"/>
                <a:gd name="T118" fmla="*/ 0 w 884"/>
                <a:gd name="T119" fmla="*/ 2 h 1393"/>
                <a:gd name="T120" fmla="*/ 0 w 884"/>
                <a:gd name="T121" fmla="*/ 2 h 1393"/>
                <a:gd name="T122" fmla="*/ 0 w 884"/>
                <a:gd name="T123" fmla="*/ 1 h 1393"/>
                <a:gd name="T124" fmla="*/ 0 w 884"/>
                <a:gd name="T125" fmla="*/ 1 h 13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884" h="1393">
                  <a:moveTo>
                    <a:pt x="252" y="300"/>
                  </a:moveTo>
                  <a:lnTo>
                    <a:pt x="257" y="300"/>
                  </a:lnTo>
                  <a:lnTo>
                    <a:pt x="257" y="305"/>
                  </a:lnTo>
                  <a:lnTo>
                    <a:pt x="257" y="311"/>
                  </a:lnTo>
                  <a:lnTo>
                    <a:pt x="257" y="316"/>
                  </a:lnTo>
                  <a:lnTo>
                    <a:pt x="262" y="316"/>
                  </a:lnTo>
                  <a:lnTo>
                    <a:pt x="262" y="321"/>
                  </a:lnTo>
                  <a:lnTo>
                    <a:pt x="268" y="327"/>
                  </a:lnTo>
                  <a:lnTo>
                    <a:pt x="268" y="332"/>
                  </a:lnTo>
                  <a:lnTo>
                    <a:pt x="273" y="332"/>
                  </a:lnTo>
                  <a:lnTo>
                    <a:pt x="278" y="337"/>
                  </a:lnTo>
                  <a:lnTo>
                    <a:pt x="278" y="343"/>
                  </a:lnTo>
                  <a:lnTo>
                    <a:pt x="284" y="343"/>
                  </a:lnTo>
                  <a:lnTo>
                    <a:pt x="284" y="348"/>
                  </a:lnTo>
                  <a:lnTo>
                    <a:pt x="289" y="353"/>
                  </a:lnTo>
                  <a:lnTo>
                    <a:pt x="289" y="348"/>
                  </a:lnTo>
                  <a:lnTo>
                    <a:pt x="289" y="343"/>
                  </a:lnTo>
                  <a:lnTo>
                    <a:pt x="295" y="343"/>
                  </a:lnTo>
                  <a:lnTo>
                    <a:pt x="300" y="343"/>
                  </a:lnTo>
                  <a:lnTo>
                    <a:pt x="300" y="348"/>
                  </a:lnTo>
                  <a:lnTo>
                    <a:pt x="305" y="343"/>
                  </a:lnTo>
                  <a:lnTo>
                    <a:pt x="311" y="337"/>
                  </a:lnTo>
                  <a:lnTo>
                    <a:pt x="321" y="343"/>
                  </a:lnTo>
                  <a:lnTo>
                    <a:pt x="321" y="337"/>
                  </a:lnTo>
                  <a:lnTo>
                    <a:pt x="327" y="337"/>
                  </a:lnTo>
                  <a:lnTo>
                    <a:pt x="332" y="337"/>
                  </a:lnTo>
                  <a:lnTo>
                    <a:pt x="337" y="337"/>
                  </a:lnTo>
                  <a:lnTo>
                    <a:pt x="337" y="332"/>
                  </a:lnTo>
                  <a:lnTo>
                    <a:pt x="343" y="332"/>
                  </a:lnTo>
                  <a:lnTo>
                    <a:pt x="348" y="332"/>
                  </a:lnTo>
                  <a:lnTo>
                    <a:pt x="348" y="337"/>
                  </a:lnTo>
                  <a:lnTo>
                    <a:pt x="354" y="337"/>
                  </a:lnTo>
                  <a:lnTo>
                    <a:pt x="354" y="343"/>
                  </a:lnTo>
                  <a:lnTo>
                    <a:pt x="354" y="348"/>
                  </a:lnTo>
                  <a:lnTo>
                    <a:pt x="359" y="348"/>
                  </a:lnTo>
                  <a:lnTo>
                    <a:pt x="359" y="353"/>
                  </a:lnTo>
                  <a:lnTo>
                    <a:pt x="359" y="359"/>
                  </a:lnTo>
                  <a:lnTo>
                    <a:pt x="359" y="364"/>
                  </a:lnTo>
                  <a:lnTo>
                    <a:pt x="364" y="370"/>
                  </a:lnTo>
                  <a:lnTo>
                    <a:pt x="364" y="375"/>
                  </a:lnTo>
                  <a:lnTo>
                    <a:pt x="359" y="375"/>
                  </a:lnTo>
                  <a:lnTo>
                    <a:pt x="364" y="375"/>
                  </a:lnTo>
                  <a:lnTo>
                    <a:pt x="364" y="380"/>
                  </a:lnTo>
                  <a:lnTo>
                    <a:pt x="364" y="386"/>
                  </a:lnTo>
                  <a:lnTo>
                    <a:pt x="364" y="391"/>
                  </a:lnTo>
                  <a:lnTo>
                    <a:pt x="364" y="396"/>
                  </a:lnTo>
                  <a:lnTo>
                    <a:pt x="364" y="402"/>
                  </a:lnTo>
                  <a:lnTo>
                    <a:pt x="364" y="407"/>
                  </a:lnTo>
                  <a:lnTo>
                    <a:pt x="364" y="412"/>
                  </a:lnTo>
                  <a:lnTo>
                    <a:pt x="359" y="412"/>
                  </a:lnTo>
                  <a:lnTo>
                    <a:pt x="359" y="418"/>
                  </a:lnTo>
                  <a:lnTo>
                    <a:pt x="354" y="418"/>
                  </a:lnTo>
                  <a:lnTo>
                    <a:pt x="354" y="423"/>
                  </a:lnTo>
                  <a:lnTo>
                    <a:pt x="348" y="423"/>
                  </a:lnTo>
                  <a:lnTo>
                    <a:pt x="348" y="428"/>
                  </a:lnTo>
                  <a:lnTo>
                    <a:pt x="354" y="428"/>
                  </a:lnTo>
                  <a:lnTo>
                    <a:pt x="354" y="434"/>
                  </a:lnTo>
                  <a:lnTo>
                    <a:pt x="348" y="439"/>
                  </a:lnTo>
                  <a:lnTo>
                    <a:pt x="348" y="445"/>
                  </a:lnTo>
                  <a:lnTo>
                    <a:pt x="343" y="445"/>
                  </a:lnTo>
                  <a:lnTo>
                    <a:pt x="337" y="450"/>
                  </a:lnTo>
                  <a:lnTo>
                    <a:pt x="337" y="455"/>
                  </a:lnTo>
                  <a:lnTo>
                    <a:pt x="337" y="461"/>
                  </a:lnTo>
                  <a:lnTo>
                    <a:pt x="337" y="466"/>
                  </a:lnTo>
                  <a:lnTo>
                    <a:pt x="337" y="461"/>
                  </a:lnTo>
                  <a:lnTo>
                    <a:pt x="343" y="466"/>
                  </a:lnTo>
                  <a:lnTo>
                    <a:pt x="348" y="471"/>
                  </a:lnTo>
                  <a:lnTo>
                    <a:pt x="354" y="477"/>
                  </a:lnTo>
                  <a:lnTo>
                    <a:pt x="348" y="477"/>
                  </a:lnTo>
                  <a:lnTo>
                    <a:pt x="348" y="482"/>
                  </a:lnTo>
                  <a:lnTo>
                    <a:pt x="348" y="487"/>
                  </a:lnTo>
                  <a:lnTo>
                    <a:pt x="348" y="493"/>
                  </a:lnTo>
                  <a:lnTo>
                    <a:pt x="354" y="493"/>
                  </a:lnTo>
                  <a:lnTo>
                    <a:pt x="359" y="493"/>
                  </a:lnTo>
                  <a:lnTo>
                    <a:pt x="364" y="498"/>
                  </a:lnTo>
                  <a:lnTo>
                    <a:pt x="364" y="504"/>
                  </a:lnTo>
                  <a:lnTo>
                    <a:pt x="370" y="509"/>
                  </a:lnTo>
                  <a:lnTo>
                    <a:pt x="370" y="514"/>
                  </a:lnTo>
                  <a:lnTo>
                    <a:pt x="375" y="514"/>
                  </a:lnTo>
                  <a:lnTo>
                    <a:pt x="380" y="514"/>
                  </a:lnTo>
                  <a:lnTo>
                    <a:pt x="380" y="520"/>
                  </a:lnTo>
                  <a:lnTo>
                    <a:pt x="386" y="520"/>
                  </a:lnTo>
                  <a:lnTo>
                    <a:pt x="386" y="525"/>
                  </a:lnTo>
                  <a:lnTo>
                    <a:pt x="386" y="530"/>
                  </a:lnTo>
                  <a:lnTo>
                    <a:pt x="391" y="530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402" y="536"/>
                  </a:lnTo>
                  <a:lnTo>
                    <a:pt x="402" y="541"/>
                  </a:lnTo>
                  <a:lnTo>
                    <a:pt x="407" y="541"/>
                  </a:lnTo>
                  <a:lnTo>
                    <a:pt x="413" y="541"/>
                  </a:lnTo>
                  <a:lnTo>
                    <a:pt x="413" y="546"/>
                  </a:lnTo>
                  <a:lnTo>
                    <a:pt x="413" y="552"/>
                  </a:lnTo>
                  <a:lnTo>
                    <a:pt x="407" y="552"/>
                  </a:lnTo>
                  <a:lnTo>
                    <a:pt x="402" y="552"/>
                  </a:lnTo>
                  <a:lnTo>
                    <a:pt x="402" y="557"/>
                  </a:lnTo>
                  <a:lnTo>
                    <a:pt x="407" y="562"/>
                  </a:lnTo>
                  <a:lnTo>
                    <a:pt x="423" y="562"/>
                  </a:lnTo>
                  <a:lnTo>
                    <a:pt x="423" y="557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46"/>
                  </a:lnTo>
                  <a:lnTo>
                    <a:pt x="423" y="541"/>
                  </a:lnTo>
                  <a:lnTo>
                    <a:pt x="423" y="536"/>
                  </a:lnTo>
                  <a:lnTo>
                    <a:pt x="423" y="530"/>
                  </a:lnTo>
                  <a:lnTo>
                    <a:pt x="418" y="530"/>
                  </a:lnTo>
                  <a:lnTo>
                    <a:pt x="418" y="525"/>
                  </a:lnTo>
                  <a:lnTo>
                    <a:pt x="413" y="525"/>
                  </a:lnTo>
                  <a:lnTo>
                    <a:pt x="413" y="520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8" y="509"/>
                  </a:lnTo>
                  <a:lnTo>
                    <a:pt x="418" y="504"/>
                  </a:lnTo>
                  <a:lnTo>
                    <a:pt x="423" y="504"/>
                  </a:lnTo>
                  <a:lnTo>
                    <a:pt x="423" y="498"/>
                  </a:lnTo>
                  <a:lnTo>
                    <a:pt x="423" y="493"/>
                  </a:lnTo>
                  <a:lnTo>
                    <a:pt x="423" y="487"/>
                  </a:lnTo>
                  <a:lnTo>
                    <a:pt x="429" y="487"/>
                  </a:lnTo>
                  <a:lnTo>
                    <a:pt x="429" y="482"/>
                  </a:lnTo>
                  <a:lnTo>
                    <a:pt x="434" y="482"/>
                  </a:lnTo>
                  <a:lnTo>
                    <a:pt x="434" y="477"/>
                  </a:lnTo>
                  <a:lnTo>
                    <a:pt x="439" y="482"/>
                  </a:lnTo>
                  <a:lnTo>
                    <a:pt x="445" y="482"/>
                  </a:lnTo>
                  <a:lnTo>
                    <a:pt x="450" y="482"/>
                  </a:lnTo>
                  <a:lnTo>
                    <a:pt x="450" y="477"/>
                  </a:lnTo>
                  <a:lnTo>
                    <a:pt x="455" y="477"/>
                  </a:lnTo>
                  <a:lnTo>
                    <a:pt x="461" y="477"/>
                  </a:lnTo>
                  <a:lnTo>
                    <a:pt x="461" y="471"/>
                  </a:lnTo>
                  <a:lnTo>
                    <a:pt x="466" y="471"/>
                  </a:lnTo>
                  <a:lnTo>
                    <a:pt x="466" y="466"/>
                  </a:lnTo>
                  <a:lnTo>
                    <a:pt x="466" y="461"/>
                  </a:lnTo>
                  <a:lnTo>
                    <a:pt x="471" y="418"/>
                  </a:lnTo>
                  <a:lnTo>
                    <a:pt x="466" y="396"/>
                  </a:lnTo>
                  <a:lnTo>
                    <a:pt x="471" y="375"/>
                  </a:lnTo>
                  <a:lnTo>
                    <a:pt x="471" y="359"/>
                  </a:lnTo>
                  <a:lnTo>
                    <a:pt x="439" y="321"/>
                  </a:lnTo>
                  <a:lnTo>
                    <a:pt x="439" y="316"/>
                  </a:lnTo>
                  <a:lnTo>
                    <a:pt x="418" y="289"/>
                  </a:lnTo>
                  <a:lnTo>
                    <a:pt x="407" y="273"/>
                  </a:lnTo>
                  <a:lnTo>
                    <a:pt x="391" y="262"/>
                  </a:lnTo>
                  <a:lnTo>
                    <a:pt x="386" y="257"/>
                  </a:lnTo>
                  <a:lnTo>
                    <a:pt x="364" y="257"/>
                  </a:lnTo>
                  <a:lnTo>
                    <a:pt x="364" y="252"/>
                  </a:lnTo>
                  <a:lnTo>
                    <a:pt x="359" y="246"/>
                  </a:lnTo>
                  <a:lnTo>
                    <a:pt x="359" y="241"/>
                  </a:lnTo>
                  <a:lnTo>
                    <a:pt x="359" y="235"/>
                  </a:lnTo>
                  <a:lnTo>
                    <a:pt x="359" y="225"/>
                  </a:lnTo>
                  <a:lnTo>
                    <a:pt x="359" y="219"/>
                  </a:lnTo>
                  <a:lnTo>
                    <a:pt x="359" y="209"/>
                  </a:lnTo>
                  <a:lnTo>
                    <a:pt x="359" y="203"/>
                  </a:lnTo>
                  <a:lnTo>
                    <a:pt x="359" y="198"/>
                  </a:lnTo>
                  <a:lnTo>
                    <a:pt x="359" y="193"/>
                  </a:lnTo>
                  <a:lnTo>
                    <a:pt x="354" y="187"/>
                  </a:lnTo>
                  <a:lnTo>
                    <a:pt x="348" y="160"/>
                  </a:lnTo>
                  <a:lnTo>
                    <a:pt x="348" y="155"/>
                  </a:lnTo>
                  <a:lnTo>
                    <a:pt x="348" y="144"/>
                  </a:lnTo>
                  <a:lnTo>
                    <a:pt x="354" y="134"/>
                  </a:lnTo>
                  <a:lnTo>
                    <a:pt x="359" y="128"/>
                  </a:lnTo>
                  <a:lnTo>
                    <a:pt x="364" y="112"/>
                  </a:lnTo>
                  <a:lnTo>
                    <a:pt x="370" y="101"/>
                  </a:lnTo>
                  <a:lnTo>
                    <a:pt x="370" y="96"/>
                  </a:lnTo>
                  <a:lnTo>
                    <a:pt x="396" y="91"/>
                  </a:lnTo>
                  <a:lnTo>
                    <a:pt x="429" y="91"/>
                  </a:lnTo>
                  <a:lnTo>
                    <a:pt x="429" y="96"/>
                  </a:lnTo>
                  <a:lnTo>
                    <a:pt x="434" y="91"/>
                  </a:lnTo>
                  <a:lnTo>
                    <a:pt x="434" y="96"/>
                  </a:lnTo>
                  <a:lnTo>
                    <a:pt x="439" y="96"/>
                  </a:lnTo>
                  <a:lnTo>
                    <a:pt x="439" y="91"/>
                  </a:lnTo>
                  <a:lnTo>
                    <a:pt x="439" y="96"/>
                  </a:lnTo>
                  <a:lnTo>
                    <a:pt x="445" y="96"/>
                  </a:lnTo>
                  <a:lnTo>
                    <a:pt x="450" y="96"/>
                  </a:lnTo>
                  <a:lnTo>
                    <a:pt x="455" y="91"/>
                  </a:lnTo>
                  <a:lnTo>
                    <a:pt x="455" y="85"/>
                  </a:lnTo>
                  <a:lnTo>
                    <a:pt x="461" y="85"/>
                  </a:lnTo>
                  <a:lnTo>
                    <a:pt x="466" y="80"/>
                  </a:lnTo>
                  <a:lnTo>
                    <a:pt x="471" y="80"/>
                  </a:lnTo>
                  <a:lnTo>
                    <a:pt x="477" y="80"/>
                  </a:lnTo>
                  <a:lnTo>
                    <a:pt x="477" y="85"/>
                  </a:lnTo>
                  <a:lnTo>
                    <a:pt x="482" y="85"/>
                  </a:lnTo>
                  <a:lnTo>
                    <a:pt x="488" y="91"/>
                  </a:lnTo>
                  <a:lnTo>
                    <a:pt x="493" y="91"/>
                  </a:lnTo>
                  <a:lnTo>
                    <a:pt x="493" y="96"/>
                  </a:lnTo>
                  <a:lnTo>
                    <a:pt x="498" y="96"/>
                  </a:lnTo>
                  <a:lnTo>
                    <a:pt x="493" y="96"/>
                  </a:lnTo>
                  <a:lnTo>
                    <a:pt x="498" y="101"/>
                  </a:lnTo>
                  <a:lnTo>
                    <a:pt x="493" y="101"/>
                  </a:lnTo>
                  <a:lnTo>
                    <a:pt x="498" y="101"/>
                  </a:lnTo>
                  <a:lnTo>
                    <a:pt x="498" y="107"/>
                  </a:lnTo>
                  <a:lnTo>
                    <a:pt x="504" y="107"/>
                  </a:lnTo>
                  <a:lnTo>
                    <a:pt x="509" y="101"/>
                  </a:lnTo>
                  <a:lnTo>
                    <a:pt x="509" y="107"/>
                  </a:lnTo>
                  <a:lnTo>
                    <a:pt x="514" y="101"/>
                  </a:lnTo>
                  <a:lnTo>
                    <a:pt x="520" y="101"/>
                  </a:lnTo>
                  <a:lnTo>
                    <a:pt x="525" y="107"/>
                  </a:lnTo>
                  <a:lnTo>
                    <a:pt x="530" y="107"/>
                  </a:lnTo>
                  <a:lnTo>
                    <a:pt x="536" y="107"/>
                  </a:lnTo>
                  <a:lnTo>
                    <a:pt x="541" y="101"/>
                  </a:lnTo>
                  <a:lnTo>
                    <a:pt x="547" y="101"/>
                  </a:lnTo>
                  <a:lnTo>
                    <a:pt x="547" y="96"/>
                  </a:lnTo>
                  <a:lnTo>
                    <a:pt x="552" y="96"/>
                  </a:lnTo>
                  <a:lnTo>
                    <a:pt x="557" y="96"/>
                  </a:lnTo>
                  <a:lnTo>
                    <a:pt x="563" y="96"/>
                  </a:lnTo>
                  <a:lnTo>
                    <a:pt x="568" y="91"/>
                  </a:lnTo>
                  <a:lnTo>
                    <a:pt x="568" y="96"/>
                  </a:lnTo>
                  <a:lnTo>
                    <a:pt x="573" y="96"/>
                  </a:lnTo>
                  <a:lnTo>
                    <a:pt x="573" y="101"/>
                  </a:lnTo>
                  <a:lnTo>
                    <a:pt x="584" y="101"/>
                  </a:lnTo>
                  <a:lnTo>
                    <a:pt x="584" y="107"/>
                  </a:lnTo>
                  <a:lnTo>
                    <a:pt x="589" y="107"/>
                  </a:lnTo>
                  <a:lnTo>
                    <a:pt x="589" y="101"/>
                  </a:lnTo>
                  <a:lnTo>
                    <a:pt x="595" y="101"/>
                  </a:lnTo>
                  <a:lnTo>
                    <a:pt x="595" y="107"/>
                  </a:lnTo>
                  <a:lnTo>
                    <a:pt x="600" y="107"/>
                  </a:lnTo>
                  <a:lnTo>
                    <a:pt x="606" y="107"/>
                  </a:lnTo>
                  <a:lnTo>
                    <a:pt x="606" y="101"/>
                  </a:lnTo>
                  <a:lnTo>
                    <a:pt x="611" y="101"/>
                  </a:lnTo>
                  <a:lnTo>
                    <a:pt x="616" y="101"/>
                  </a:lnTo>
                  <a:lnTo>
                    <a:pt x="622" y="96"/>
                  </a:lnTo>
                  <a:lnTo>
                    <a:pt x="632" y="91"/>
                  </a:lnTo>
                  <a:lnTo>
                    <a:pt x="632" y="85"/>
                  </a:lnTo>
                  <a:lnTo>
                    <a:pt x="632" y="80"/>
                  </a:lnTo>
                  <a:lnTo>
                    <a:pt x="638" y="80"/>
                  </a:lnTo>
                  <a:lnTo>
                    <a:pt x="638" y="75"/>
                  </a:lnTo>
                  <a:lnTo>
                    <a:pt x="638" y="69"/>
                  </a:lnTo>
                  <a:lnTo>
                    <a:pt x="643" y="69"/>
                  </a:lnTo>
                  <a:lnTo>
                    <a:pt x="648" y="69"/>
                  </a:lnTo>
                  <a:lnTo>
                    <a:pt x="654" y="69"/>
                  </a:lnTo>
                  <a:lnTo>
                    <a:pt x="659" y="64"/>
                  </a:lnTo>
                  <a:lnTo>
                    <a:pt x="659" y="69"/>
                  </a:lnTo>
                  <a:lnTo>
                    <a:pt x="664" y="69"/>
                  </a:lnTo>
                  <a:lnTo>
                    <a:pt x="670" y="69"/>
                  </a:lnTo>
                  <a:lnTo>
                    <a:pt x="670" y="75"/>
                  </a:lnTo>
                  <a:lnTo>
                    <a:pt x="675" y="75"/>
                  </a:lnTo>
                  <a:lnTo>
                    <a:pt x="681" y="75"/>
                  </a:lnTo>
                  <a:lnTo>
                    <a:pt x="681" y="80"/>
                  </a:lnTo>
                  <a:lnTo>
                    <a:pt x="686" y="80"/>
                  </a:lnTo>
                  <a:lnTo>
                    <a:pt x="691" y="80"/>
                  </a:lnTo>
                  <a:lnTo>
                    <a:pt x="691" y="75"/>
                  </a:lnTo>
                  <a:lnTo>
                    <a:pt x="697" y="75"/>
                  </a:lnTo>
                  <a:lnTo>
                    <a:pt x="697" y="69"/>
                  </a:lnTo>
                  <a:lnTo>
                    <a:pt x="702" y="69"/>
                  </a:lnTo>
                  <a:lnTo>
                    <a:pt x="707" y="69"/>
                  </a:lnTo>
                  <a:lnTo>
                    <a:pt x="713" y="64"/>
                  </a:lnTo>
                  <a:lnTo>
                    <a:pt x="718" y="64"/>
                  </a:lnTo>
                  <a:lnTo>
                    <a:pt x="718" y="59"/>
                  </a:lnTo>
                  <a:lnTo>
                    <a:pt x="723" y="59"/>
                  </a:lnTo>
                  <a:lnTo>
                    <a:pt x="729" y="59"/>
                  </a:lnTo>
                  <a:lnTo>
                    <a:pt x="734" y="59"/>
                  </a:lnTo>
                  <a:lnTo>
                    <a:pt x="740" y="59"/>
                  </a:lnTo>
                  <a:lnTo>
                    <a:pt x="745" y="59"/>
                  </a:lnTo>
                  <a:lnTo>
                    <a:pt x="750" y="59"/>
                  </a:lnTo>
                  <a:lnTo>
                    <a:pt x="756" y="59"/>
                  </a:lnTo>
                  <a:lnTo>
                    <a:pt x="761" y="53"/>
                  </a:lnTo>
                  <a:lnTo>
                    <a:pt x="766" y="48"/>
                  </a:lnTo>
                  <a:lnTo>
                    <a:pt x="772" y="48"/>
                  </a:lnTo>
                  <a:lnTo>
                    <a:pt x="772" y="43"/>
                  </a:lnTo>
                  <a:lnTo>
                    <a:pt x="777" y="43"/>
                  </a:lnTo>
                  <a:lnTo>
                    <a:pt x="782" y="43"/>
                  </a:lnTo>
                  <a:lnTo>
                    <a:pt x="788" y="43"/>
                  </a:lnTo>
                  <a:lnTo>
                    <a:pt x="788" y="37"/>
                  </a:lnTo>
                  <a:lnTo>
                    <a:pt x="793" y="37"/>
                  </a:lnTo>
                  <a:lnTo>
                    <a:pt x="799" y="37"/>
                  </a:lnTo>
                  <a:lnTo>
                    <a:pt x="799" y="32"/>
                  </a:lnTo>
                  <a:lnTo>
                    <a:pt x="804" y="32"/>
                  </a:lnTo>
                  <a:lnTo>
                    <a:pt x="809" y="32"/>
                  </a:lnTo>
                  <a:lnTo>
                    <a:pt x="815" y="26"/>
                  </a:lnTo>
                  <a:lnTo>
                    <a:pt x="820" y="21"/>
                  </a:lnTo>
                  <a:lnTo>
                    <a:pt x="825" y="16"/>
                  </a:lnTo>
                  <a:lnTo>
                    <a:pt x="831" y="16"/>
                  </a:lnTo>
                  <a:lnTo>
                    <a:pt x="831" y="10"/>
                  </a:lnTo>
                  <a:lnTo>
                    <a:pt x="836" y="10"/>
                  </a:lnTo>
                  <a:lnTo>
                    <a:pt x="841" y="10"/>
                  </a:lnTo>
                  <a:lnTo>
                    <a:pt x="841" y="5"/>
                  </a:lnTo>
                  <a:lnTo>
                    <a:pt x="847" y="5"/>
                  </a:lnTo>
                  <a:lnTo>
                    <a:pt x="847" y="0"/>
                  </a:lnTo>
                  <a:lnTo>
                    <a:pt x="852" y="0"/>
                  </a:lnTo>
                  <a:lnTo>
                    <a:pt x="857" y="0"/>
                  </a:lnTo>
                  <a:lnTo>
                    <a:pt x="857" y="5"/>
                  </a:lnTo>
                  <a:lnTo>
                    <a:pt x="857" y="10"/>
                  </a:lnTo>
                  <a:lnTo>
                    <a:pt x="863" y="10"/>
                  </a:lnTo>
                  <a:lnTo>
                    <a:pt x="857" y="10"/>
                  </a:lnTo>
                  <a:lnTo>
                    <a:pt x="863" y="16"/>
                  </a:lnTo>
                  <a:lnTo>
                    <a:pt x="868" y="16"/>
                  </a:lnTo>
                  <a:lnTo>
                    <a:pt x="868" y="21"/>
                  </a:lnTo>
                  <a:lnTo>
                    <a:pt x="863" y="21"/>
                  </a:lnTo>
                  <a:lnTo>
                    <a:pt x="863" y="16"/>
                  </a:lnTo>
                  <a:lnTo>
                    <a:pt x="857" y="21"/>
                  </a:lnTo>
                  <a:lnTo>
                    <a:pt x="852" y="21"/>
                  </a:lnTo>
                  <a:lnTo>
                    <a:pt x="852" y="26"/>
                  </a:lnTo>
                  <a:lnTo>
                    <a:pt x="857" y="26"/>
                  </a:lnTo>
                  <a:lnTo>
                    <a:pt x="863" y="32"/>
                  </a:lnTo>
                  <a:lnTo>
                    <a:pt x="857" y="37"/>
                  </a:lnTo>
                  <a:lnTo>
                    <a:pt x="852" y="37"/>
                  </a:lnTo>
                  <a:lnTo>
                    <a:pt x="852" y="43"/>
                  </a:lnTo>
                  <a:lnTo>
                    <a:pt x="857" y="43"/>
                  </a:lnTo>
                  <a:lnTo>
                    <a:pt x="863" y="48"/>
                  </a:lnTo>
                  <a:lnTo>
                    <a:pt x="857" y="48"/>
                  </a:lnTo>
                  <a:lnTo>
                    <a:pt x="857" y="53"/>
                  </a:lnTo>
                  <a:lnTo>
                    <a:pt x="852" y="59"/>
                  </a:lnTo>
                  <a:lnTo>
                    <a:pt x="857" y="64"/>
                  </a:lnTo>
                  <a:lnTo>
                    <a:pt x="847" y="64"/>
                  </a:lnTo>
                  <a:lnTo>
                    <a:pt x="847" y="69"/>
                  </a:lnTo>
                  <a:lnTo>
                    <a:pt x="847" y="75"/>
                  </a:lnTo>
                  <a:lnTo>
                    <a:pt x="841" y="69"/>
                  </a:lnTo>
                  <a:lnTo>
                    <a:pt x="841" y="75"/>
                  </a:lnTo>
                  <a:lnTo>
                    <a:pt x="847" y="75"/>
                  </a:lnTo>
                  <a:lnTo>
                    <a:pt x="847" y="80"/>
                  </a:lnTo>
                  <a:lnTo>
                    <a:pt x="852" y="80"/>
                  </a:lnTo>
                  <a:lnTo>
                    <a:pt x="852" y="85"/>
                  </a:lnTo>
                  <a:lnTo>
                    <a:pt x="852" y="91"/>
                  </a:lnTo>
                  <a:lnTo>
                    <a:pt x="847" y="91"/>
                  </a:lnTo>
                  <a:lnTo>
                    <a:pt x="847" y="96"/>
                  </a:lnTo>
                  <a:lnTo>
                    <a:pt x="852" y="96"/>
                  </a:lnTo>
                  <a:lnTo>
                    <a:pt x="847" y="96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52" y="107"/>
                  </a:lnTo>
                  <a:lnTo>
                    <a:pt x="852" y="112"/>
                  </a:lnTo>
                  <a:lnTo>
                    <a:pt x="852" y="118"/>
                  </a:lnTo>
                  <a:lnTo>
                    <a:pt x="857" y="118"/>
                  </a:lnTo>
                  <a:lnTo>
                    <a:pt x="852" y="118"/>
                  </a:lnTo>
                  <a:lnTo>
                    <a:pt x="852" y="123"/>
                  </a:lnTo>
                  <a:lnTo>
                    <a:pt x="852" y="128"/>
                  </a:lnTo>
                  <a:lnTo>
                    <a:pt x="857" y="128"/>
                  </a:lnTo>
                  <a:lnTo>
                    <a:pt x="857" y="134"/>
                  </a:lnTo>
                  <a:lnTo>
                    <a:pt x="852" y="134"/>
                  </a:lnTo>
                  <a:lnTo>
                    <a:pt x="857" y="134"/>
                  </a:lnTo>
                  <a:lnTo>
                    <a:pt x="857" y="139"/>
                  </a:lnTo>
                  <a:lnTo>
                    <a:pt x="852" y="139"/>
                  </a:lnTo>
                  <a:lnTo>
                    <a:pt x="852" y="144"/>
                  </a:lnTo>
                  <a:lnTo>
                    <a:pt x="857" y="144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47" y="155"/>
                  </a:lnTo>
                  <a:lnTo>
                    <a:pt x="852" y="155"/>
                  </a:lnTo>
                  <a:lnTo>
                    <a:pt x="852" y="150"/>
                  </a:lnTo>
                  <a:lnTo>
                    <a:pt x="852" y="155"/>
                  </a:lnTo>
                  <a:lnTo>
                    <a:pt x="852" y="160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2" y="171"/>
                  </a:lnTo>
                  <a:lnTo>
                    <a:pt x="852" y="166"/>
                  </a:lnTo>
                  <a:lnTo>
                    <a:pt x="852" y="171"/>
                  </a:lnTo>
                  <a:lnTo>
                    <a:pt x="847" y="171"/>
                  </a:lnTo>
                  <a:lnTo>
                    <a:pt x="852" y="177"/>
                  </a:lnTo>
                  <a:lnTo>
                    <a:pt x="847" y="177"/>
                  </a:lnTo>
                  <a:lnTo>
                    <a:pt x="852" y="177"/>
                  </a:lnTo>
                  <a:lnTo>
                    <a:pt x="852" y="171"/>
                  </a:lnTo>
                  <a:lnTo>
                    <a:pt x="852" y="177"/>
                  </a:lnTo>
                  <a:lnTo>
                    <a:pt x="857" y="177"/>
                  </a:lnTo>
                  <a:lnTo>
                    <a:pt x="863" y="177"/>
                  </a:lnTo>
                  <a:lnTo>
                    <a:pt x="857" y="177"/>
                  </a:lnTo>
                  <a:lnTo>
                    <a:pt x="857" y="182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57" y="187"/>
                  </a:lnTo>
                  <a:lnTo>
                    <a:pt x="863" y="193"/>
                  </a:lnTo>
                  <a:lnTo>
                    <a:pt x="863" y="187"/>
                  </a:lnTo>
                  <a:lnTo>
                    <a:pt x="863" y="193"/>
                  </a:lnTo>
                  <a:lnTo>
                    <a:pt x="868" y="193"/>
                  </a:lnTo>
                  <a:lnTo>
                    <a:pt x="863" y="198"/>
                  </a:lnTo>
                  <a:lnTo>
                    <a:pt x="857" y="198"/>
                  </a:lnTo>
                  <a:lnTo>
                    <a:pt x="857" y="203"/>
                  </a:lnTo>
                  <a:lnTo>
                    <a:pt x="857" y="209"/>
                  </a:lnTo>
                  <a:lnTo>
                    <a:pt x="857" y="203"/>
                  </a:lnTo>
                  <a:lnTo>
                    <a:pt x="852" y="203"/>
                  </a:lnTo>
                  <a:lnTo>
                    <a:pt x="847" y="209"/>
                  </a:lnTo>
                  <a:lnTo>
                    <a:pt x="847" y="214"/>
                  </a:lnTo>
                  <a:lnTo>
                    <a:pt x="852" y="214"/>
                  </a:lnTo>
                  <a:lnTo>
                    <a:pt x="847" y="219"/>
                  </a:lnTo>
                  <a:lnTo>
                    <a:pt x="852" y="214"/>
                  </a:lnTo>
                  <a:lnTo>
                    <a:pt x="852" y="219"/>
                  </a:lnTo>
                  <a:lnTo>
                    <a:pt x="857" y="219"/>
                  </a:lnTo>
                  <a:lnTo>
                    <a:pt x="857" y="214"/>
                  </a:lnTo>
                  <a:lnTo>
                    <a:pt x="852" y="214"/>
                  </a:lnTo>
                  <a:lnTo>
                    <a:pt x="852" y="209"/>
                  </a:lnTo>
                  <a:lnTo>
                    <a:pt x="857" y="214"/>
                  </a:lnTo>
                  <a:lnTo>
                    <a:pt x="863" y="209"/>
                  </a:lnTo>
                  <a:lnTo>
                    <a:pt x="863" y="214"/>
                  </a:lnTo>
                  <a:lnTo>
                    <a:pt x="857" y="219"/>
                  </a:lnTo>
                  <a:lnTo>
                    <a:pt x="857" y="225"/>
                  </a:lnTo>
                  <a:lnTo>
                    <a:pt x="857" y="230"/>
                  </a:lnTo>
                  <a:lnTo>
                    <a:pt x="857" y="235"/>
                  </a:lnTo>
                  <a:lnTo>
                    <a:pt x="857" y="241"/>
                  </a:lnTo>
                  <a:lnTo>
                    <a:pt x="863" y="241"/>
                  </a:lnTo>
                  <a:lnTo>
                    <a:pt x="863" y="246"/>
                  </a:lnTo>
                  <a:lnTo>
                    <a:pt x="857" y="252"/>
                  </a:lnTo>
                  <a:lnTo>
                    <a:pt x="857" y="257"/>
                  </a:lnTo>
                  <a:lnTo>
                    <a:pt x="852" y="257"/>
                  </a:lnTo>
                  <a:lnTo>
                    <a:pt x="857" y="257"/>
                  </a:lnTo>
                  <a:lnTo>
                    <a:pt x="857" y="262"/>
                  </a:lnTo>
                  <a:lnTo>
                    <a:pt x="863" y="262"/>
                  </a:lnTo>
                  <a:lnTo>
                    <a:pt x="857" y="268"/>
                  </a:lnTo>
                  <a:lnTo>
                    <a:pt x="857" y="273"/>
                  </a:lnTo>
                  <a:lnTo>
                    <a:pt x="863" y="273"/>
                  </a:lnTo>
                  <a:lnTo>
                    <a:pt x="863" y="278"/>
                  </a:lnTo>
                  <a:lnTo>
                    <a:pt x="863" y="284"/>
                  </a:lnTo>
                  <a:lnTo>
                    <a:pt x="863" y="289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8" y="300"/>
                  </a:lnTo>
                  <a:lnTo>
                    <a:pt x="868" y="305"/>
                  </a:lnTo>
                  <a:lnTo>
                    <a:pt x="863" y="305"/>
                  </a:lnTo>
                  <a:lnTo>
                    <a:pt x="863" y="311"/>
                  </a:lnTo>
                  <a:lnTo>
                    <a:pt x="857" y="311"/>
                  </a:lnTo>
                  <a:lnTo>
                    <a:pt x="857" y="316"/>
                  </a:lnTo>
                  <a:lnTo>
                    <a:pt x="857" y="321"/>
                  </a:lnTo>
                  <a:lnTo>
                    <a:pt x="863" y="316"/>
                  </a:lnTo>
                  <a:lnTo>
                    <a:pt x="863" y="321"/>
                  </a:lnTo>
                  <a:lnTo>
                    <a:pt x="863" y="316"/>
                  </a:lnTo>
                  <a:lnTo>
                    <a:pt x="868" y="316"/>
                  </a:lnTo>
                  <a:lnTo>
                    <a:pt x="874" y="316"/>
                  </a:lnTo>
                  <a:lnTo>
                    <a:pt x="874" y="321"/>
                  </a:lnTo>
                  <a:lnTo>
                    <a:pt x="874" y="327"/>
                  </a:lnTo>
                  <a:lnTo>
                    <a:pt x="874" y="332"/>
                  </a:lnTo>
                  <a:lnTo>
                    <a:pt x="868" y="332"/>
                  </a:lnTo>
                  <a:lnTo>
                    <a:pt x="868" y="327"/>
                  </a:lnTo>
                  <a:lnTo>
                    <a:pt x="868" y="332"/>
                  </a:lnTo>
                  <a:lnTo>
                    <a:pt x="868" y="337"/>
                  </a:lnTo>
                  <a:lnTo>
                    <a:pt x="868" y="343"/>
                  </a:lnTo>
                  <a:lnTo>
                    <a:pt x="863" y="343"/>
                  </a:lnTo>
                  <a:lnTo>
                    <a:pt x="868" y="343"/>
                  </a:lnTo>
                  <a:lnTo>
                    <a:pt x="868" y="348"/>
                  </a:lnTo>
                  <a:lnTo>
                    <a:pt x="863" y="348"/>
                  </a:lnTo>
                  <a:lnTo>
                    <a:pt x="868" y="348"/>
                  </a:lnTo>
                  <a:lnTo>
                    <a:pt x="868" y="343"/>
                  </a:lnTo>
                  <a:lnTo>
                    <a:pt x="868" y="337"/>
                  </a:lnTo>
                  <a:lnTo>
                    <a:pt x="874" y="337"/>
                  </a:lnTo>
                  <a:lnTo>
                    <a:pt x="879" y="332"/>
                  </a:lnTo>
                  <a:lnTo>
                    <a:pt x="884" y="337"/>
                  </a:lnTo>
                  <a:lnTo>
                    <a:pt x="884" y="343"/>
                  </a:lnTo>
                  <a:lnTo>
                    <a:pt x="884" y="348"/>
                  </a:lnTo>
                  <a:lnTo>
                    <a:pt x="879" y="348"/>
                  </a:lnTo>
                  <a:lnTo>
                    <a:pt x="879" y="353"/>
                  </a:lnTo>
                  <a:lnTo>
                    <a:pt x="884" y="353"/>
                  </a:lnTo>
                  <a:lnTo>
                    <a:pt x="884" y="359"/>
                  </a:lnTo>
                  <a:lnTo>
                    <a:pt x="884" y="364"/>
                  </a:lnTo>
                  <a:lnTo>
                    <a:pt x="879" y="370"/>
                  </a:lnTo>
                  <a:lnTo>
                    <a:pt x="884" y="370"/>
                  </a:lnTo>
                  <a:lnTo>
                    <a:pt x="879" y="370"/>
                  </a:lnTo>
                  <a:lnTo>
                    <a:pt x="879" y="375"/>
                  </a:lnTo>
                  <a:lnTo>
                    <a:pt x="874" y="375"/>
                  </a:lnTo>
                  <a:lnTo>
                    <a:pt x="868" y="375"/>
                  </a:lnTo>
                  <a:lnTo>
                    <a:pt x="868" y="370"/>
                  </a:lnTo>
                  <a:lnTo>
                    <a:pt x="863" y="370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8" y="380"/>
                  </a:lnTo>
                  <a:lnTo>
                    <a:pt x="874" y="380"/>
                  </a:lnTo>
                  <a:lnTo>
                    <a:pt x="879" y="386"/>
                  </a:lnTo>
                  <a:lnTo>
                    <a:pt x="874" y="386"/>
                  </a:lnTo>
                  <a:lnTo>
                    <a:pt x="874" y="380"/>
                  </a:lnTo>
                  <a:lnTo>
                    <a:pt x="874" y="386"/>
                  </a:lnTo>
                  <a:lnTo>
                    <a:pt x="868" y="386"/>
                  </a:lnTo>
                  <a:lnTo>
                    <a:pt x="868" y="391"/>
                  </a:lnTo>
                  <a:lnTo>
                    <a:pt x="874" y="391"/>
                  </a:lnTo>
                  <a:lnTo>
                    <a:pt x="868" y="391"/>
                  </a:lnTo>
                  <a:lnTo>
                    <a:pt x="863" y="391"/>
                  </a:lnTo>
                  <a:lnTo>
                    <a:pt x="863" y="396"/>
                  </a:lnTo>
                  <a:lnTo>
                    <a:pt x="857" y="396"/>
                  </a:lnTo>
                  <a:lnTo>
                    <a:pt x="857" y="402"/>
                  </a:lnTo>
                  <a:lnTo>
                    <a:pt x="852" y="402"/>
                  </a:lnTo>
                  <a:lnTo>
                    <a:pt x="857" y="402"/>
                  </a:lnTo>
                  <a:lnTo>
                    <a:pt x="863" y="402"/>
                  </a:lnTo>
                  <a:lnTo>
                    <a:pt x="863" y="396"/>
                  </a:lnTo>
                  <a:lnTo>
                    <a:pt x="868" y="396"/>
                  </a:lnTo>
                  <a:lnTo>
                    <a:pt x="868" y="402"/>
                  </a:lnTo>
                  <a:lnTo>
                    <a:pt x="868" y="407"/>
                  </a:lnTo>
                  <a:lnTo>
                    <a:pt x="868" y="412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57" y="418"/>
                  </a:lnTo>
                  <a:lnTo>
                    <a:pt x="863" y="418"/>
                  </a:lnTo>
                  <a:lnTo>
                    <a:pt x="857" y="423"/>
                  </a:lnTo>
                  <a:lnTo>
                    <a:pt x="857" y="428"/>
                  </a:lnTo>
                  <a:lnTo>
                    <a:pt x="852" y="428"/>
                  </a:lnTo>
                  <a:lnTo>
                    <a:pt x="852" y="434"/>
                  </a:lnTo>
                  <a:lnTo>
                    <a:pt x="847" y="434"/>
                  </a:lnTo>
                  <a:lnTo>
                    <a:pt x="841" y="445"/>
                  </a:lnTo>
                  <a:lnTo>
                    <a:pt x="831" y="455"/>
                  </a:lnTo>
                  <a:lnTo>
                    <a:pt x="831" y="461"/>
                  </a:lnTo>
                  <a:lnTo>
                    <a:pt x="825" y="466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7"/>
                  </a:lnTo>
                  <a:lnTo>
                    <a:pt x="820" y="477"/>
                  </a:lnTo>
                  <a:lnTo>
                    <a:pt x="820" y="471"/>
                  </a:lnTo>
                  <a:lnTo>
                    <a:pt x="825" y="466"/>
                  </a:lnTo>
                  <a:lnTo>
                    <a:pt x="825" y="471"/>
                  </a:lnTo>
                  <a:lnTo>
                    <a:pt x="820" y="471"/>
                  </a:lnTo>
                  <a:lnTo>
                    <a:pt x="820" y="477"/>
                  </a:lnTo>
                  <a:lnTo>
                    <a:pt x="815" y="482"/>
                  </a:lnTo>
                  <a:lnTo>
                    <a:pt x="809" y="487"/>
                  </a:lnTo>
                  <a:lnTo>
                    <a:pt x="809" y="493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804" y="487"/>
                  </a:lnTo>
                  <a:lnTo>
                    <a:pt x="804" y="482"/>
                  </a:lnTo>
                  <a:lnTo>
                    <a:pt x="804" y="487"/>
                  </a:lnTo>
                  <a:lnTo>
                    <a:pt x="799" y="487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804" y="493"/>
                  </a:lnTo>
                  <a:lnTo>
                    <a:pt x="799" y="493"/>
                  </a:lnTo>
                  <a:lnTo>
                    <a:pt x="793" y="493"/>
                  </a:lnTo>
                  <a:lnTo>
                    <a:pt x="799" y="493"/>
                  </a:lnTo>
                  <a:lnTo>
                    <a:pt x="793" y="498"/>
                  </a:lnTo>
                  <a:lnTo>
                    <a:pt x="799" y="504"/>
                  </a:lnTo>
                  <a:lnTo>
                    <a:pt x="793" y="504"/>
                  </a:lnTo>
                  <a:lnTo>
                    <a:pt x="793" y="509"/>
                  </a:lnTo>
                  <a:lnTo>
                    <a:pt x="793" y="504"/>
                  </a:lnTo>
                  <a:lnTo>
                    <a:pt x="799" y="504"/>
                  </a:lnTo>
                  <a:lnTo>
                    <a:pt x="799" y="509"/>
                  </a:lnTo>
                  <a:lnTo>
                    <a:pt x="804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3" y="514"/>
                  </a:lnTo>
                  <a:lnTo>
                    <a:pt x="788" y="514"/>
                  </a:lnTo>
                  <a:lnTo>
                    <a:pt x="782" y="520"/>
                  </a:lnTo>
                  <a:lnTo>
                    <a:pt x="777" y="525"/>
                  </a:lnTo>
                  <a:lnTo>
                    <a:pt x="772" y="525"/>
                  </a:lnTo>
                  <a:lnTo>
                    <a:pt x="756" y="536"/>
                  </a:lnTo>
                  <a:lnTo>
                    <a:pt x="750" y="536"/>
                  </a:lnTo>
                  <a:lnTo>
                    <a:pt x="750" y="541"/>
                  </a:lnTo>
                  <a:lnTo>
                    <a:pt x="740" y="546"/>
                  </a:lnTo>
                  <a:lnTo>
                    <a:pt x="734" y="546"/>
                  </a:lnTo>
                  <a:lnTo>
                    <a:pt x="734" y="552"/>
                  </a:lnTo>
                  <a:lnTo>
                    <a:pt x="740" y="552"/>
                  </a:lnTo>
                  <a:lnTo>
                    <a:pt x="740" y="546"/>
                  </a:lnTo>
                  <a:lnTo>
                    <a:pt x="740" y="552"/>
                  </a:lnTo>
                  <a:lnTo>
                    <a:pt x="734" y="557"/>
                  </a:lnTo>
                  <a:lnTo>
                    <a:pt x="729" y="557"/>
                  </a:lnTo>
                  <a:lnTo>
                    <a:pt x="723" y="557"/>
                  </a:lnTo>
                  <a:lnTo>
                    <a:pt x="718" y="557"/>
                  </a:lnTo>
                  <a:lnTo>
                    <a:pt x="713" y="557"/>
                  </a:lnTo>
                  <a:lnTo>
                    <a:pt x="707" y="562"/>
                  </a:lnTo>
                  <a:lnTo>
                    <a:pt x="702" y="562"/>
                  </a:lnTo>
                  <a:lnTo>
                    <a:pt x="702" y="557"/>
                  </a:lnTo>
                  <a:lnTo>
                    <a:pt x="702" y="562"/>
                  </a:lnTo>
                  <a:lnTo>
                    <a:pt x="697" y="562"/>
                  </a:lnTo>
                  <a:lnTo>
                    <a:pt x="691" y="562"/>
                  </a:lnTo>
                  <a:lnTo>
                    <a:pt x="686" y="562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81" y="562"/>
                  </a:lnTo>
                  <a:lnTo>
                    <a:pt x="681" y="568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70" y="573"/>
                  </a:lnTo>
                  <a:lnTo>
                    <a:pt x="664" y="573"/>
                  </a:lnTo>
                  <a:lnTo>
                    <a:pt x="664" y="579"/>
                  </a:lnTo>
                  <a:lnTo>
                    <a:pt x="659" y="579"/>
                  </a:lnTo>
                  <a:lnTo>
                    <a:pt x="659" y="573"/>
                  </a:lnTo>
                  <a:lnTo>
                    <a:pt x="654" y="573"/>
                  </a:lnTo>
                  <a:lnTo>
                    <a:pt x="654" y="568"/>
                  </a:lnTo>
                  <a:lnTo>
                    <a:pt x="654" y="573"/>
                  </a:lnTo>
                  <a:lnTo>
                    <a:pt x="659" y="573"/>
                  </a:lnTo>
                  <a:lnTo>
                    <a:pt x="659" y="579"/>
                  </a:lnTo>
                  <a:lnTo>
                    <a:pt x="654" y="579"/>
                  </a:lnTo>
                  <a:lnTo>
                    <a:pt x="654" y="584"/>
                  </a:lnTo>
                  <a:lnTo>
                    <a:pt x="648" y="579"/>
                  </a:lnTo>
                  <a:lnTo>
                    <a:pt x="654" y="584"/>
                  </a:lnTo>
                  <a:lnTo>
                    <a:pt x="648" y="584"/>
                  </a:lnTo>
                  <a:lnTo>
                    <a:pt x="643" y="584"/>
                  </a:lnTo>
                  <a:lnTo>
                    <a:pt x="638" y="584"/>
                  </a:lnTo>
                  <a:lnTo>
                    <a:pt x="632" y="589"/>
                  </a:lnTo>
                  <a:lnTo>
                    <a:pt x="622" y="595"/>
                  </a:lnTo>
                  <a:lnTo>
                    <a:pt x="627" y="595"/>
                  </a:lnTo>
                  <a:lnTo>
                    <a:pt x="627" y="589"/>
                  </a:lnTo>
                  <a:lnTo>
                    <a:pt x="627" y="595"/>
                  </a:lnTo>
                  <a:lnTo>
                    <a:pt x="622" y="595"/>
                  </a:lnTo>
                  <a:lnTo>
                    <a:pt x="616" y="600"/>
                  </a:lnTo>
                  <a:lnTo>
                    <a:pt x="611" y="600"/>
                  </a:lnTo>
                  <a:lnTo>
                    <a:pt x="606" y="600"/>
                  </a:lnTo>
                  <a:lnTo>
                    <a:pt x="611" y="600"/>
                  </a:lnTo>
                  <a:lnTo>
                    <a:pt x="606" y="605"/>
                  </a:lnTo>
                  <a:lnTo>
                    <a:pt x="600" y="605"/>
                  </a:lnTo>
                  <a:lnTo>
                    <a:pt x="595" y="611"/>
                  </a:lnTo>
                  <a:lnTo>
                    <a:pt x="589" y="611"/>
                  </a:lnTo>
                  <a:lnTo>
                    <a:pt x="589" y="616"/>
                  </a:lnTo>
                  <a:lnTo>
                    <a:pt x="584" y="616"/>
                  </a:lnTo>
                  <a:lnTo>
                    <a:pt x="584" y="621"/>
                  </a:lnTo>
                  <a:lnTo>
                    <a:pt x="579" y="621"/>
                  </a:lnTo>
                  <a:lnTo>
                    <a:pt x="573" y="627"/>
                  </a:lnTo>
                  <a:lnTo>
                    <a:pt x="568" y="638"/>
                  </a:lnTo>
                  <a:lnTo>
                    <a:pt x="563" y="643"/>
                  </a:lnTo>
                  <a:lnTo>
                    <a:pt x="563" y="638"/>
                  </a:lnTo>
                  <a:lnTo>
                    <a:pt x="557" y="638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8"/>
                  </a:lnTo>
                  <a:lnTo>
                    <a:pt x="557" y="654"/>
                  </a:lnTo>
                  <a:lnTo>
                    <a:pt x="552" y="654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52" y="654"/>
                  </a:lnTo>
                  <a:lnTo>
                    <a:pt x="552" y="659"/>
                  </a:lnTo>
                  <a:lnTo>
                    <a:pt x="547" y="664"/>
                  </a:lnTo>
                  <a:lnTo>
                    <a:pt x="536" y="670"/>
                  </a:lnTo>
                  <a:lnTo>
                    <a:pt x="536" y="675"/>
                  </a:lnTo>
                  <a:lnTo>
                    <a:pt x="530" y="675"/>
                  </a:lnTo>
                  <a:lnTo>
                    <a:pt x="53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5" y="680"/>
                  </a:lnTo>
                  <a:lnTo>
                    <a:pt x="52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14" y="686"/>
                  </a:lnTo>
                  <a:lnTo>
                    <a:pt x="520" y="691"/>
                  </a:lnTo>
                  <a:lnTo>
                    <a:pt x="514" y="697"/>
                  </a:lnTo>
                  <a:lnTo>
                    <a:pt x="514" y="702"/>
                  </a:lnTo>
                  <a:lnTo>
                    <a:pt x="509" y="702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09" y="707"/>
                  </a:lnTo>
                  <a:lnTo>
                    <a:pt x="514" y="707"/>
                  </a:lnTo>
                  <a:lnTo>
                    <a:pt x="509" y="713"/>
                  </a:lnTo>
                  <a:lnTo>
                    <a:pt x="504" y="713"/>
                  </a:lnTo>
                  <a:lnTo>
                    <a:pt x="504" y="707"/>
                  </a:lnTo>
                  <a:lnTo>
                    <a:pt x="504" y="713"/>
                  </a:lnTo>
                  <a:lnTo>
                    <a:pt x="498" y="713"/>
                  </a:lnTo>
                  <a:lnTo>
                    <a:pt x="493" y="718"/>
                  </a:lnTo>
                  <a:lnTo>
                    <a:pt x="493" y="713"/>
                  </a:lnTo>
                  <a:lnTo>
                    <a:pt x="488" y="718"/>
                  </a:lnTo>
                  <a:lnTo>
                    <a:pt x="488" y="713"/>
                  </a:lnTo>
                  <a:lnTo>
                    <a:pt x="488" y="718"/>
                  </a:lnTo>
                  <a:lnTo>
                    <a:pt x="482" y="718"/>
                  </a:lnTo>
                  <a:lnTo>
                    <a:pt x="477" y="718"/>
                  </a:lnTo>
                  <a:lnTo>
                    <a:pt x="477" y="723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61" y="729"/>
                  </a:lnTo>
                  <a:lnTo>
                    <a:pt x="461" y="734"/>
                  </a:lnTo>
                  <a:lnTo>
                    <a:pt x="455" y="729"/>
                  </a:lnTo>
                  <a:lnTo>
                    <a:pt x="455" y="734"/>
                  </a:lnTo>
                  <a:lnTo>
                    <a:pt x="450" y="734"/>
                  </a:lnTo>
                  <a:lnTo>
                    <a:pt x="450" y="739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0" y="739"/>
                  </a:lnTo>
                  <a:lnTo>
                    <a:pt x="450" y="745"/>
                  </a:lnTo>
                  <a:lnTo>
                    <a:pt x="445" y="745"/>
                  </a:lnTo>
                  <a:lnTo>
                    <a:pt x="450" y="745"/>
                  </a:lnTo>
                  <a:lnTo>
                    <a:pt x="445" y="750"/>
                  </a:lnTo>
                  <a:lnTo>
                    <a:pt x="439" y="750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3" y="766"/>
                  </a:lnTo>
                  <a:lnTo>
                    <a:pt x="423" y="772"/>
                  </a:lnTo>
                  <a:lnTo>
                    <a:pt x="429" y="766"/>
                  </a:lnTo>
                  <a:lnTo>
                    <a:pt x="423" y="772"/>
                  </a:lnTo>
                  <a:lnTo>
                    <a:pt x="418" y="772"/>
                  </a:lnTo>
                  <a:lnTo>
                    <a:pt x="418" y="777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2" y="788"/>
                  </a:lnTo>
                  <a:lnTo>
                    <a:pt x="396" y="793"/>
                  </a:lnTo>
                  <a:lnTo>
                    <a:pt x="391" y="793"/>
                  </a:lnTo>
                  <a:lnTo>
                    <a:pt x="391" y="798"/>
                  </a:lnTo>
                  <a:lnTo>
                    <a:pt x="386" y="798"/>
                  </a:lnTo>
                  <a:lnTo>
                    <a:pt x="386" y="793"/>
                  </a:lnTo>
                  <a:lnTo>
                    <a:pt x="380" y="793"/>
                  </a:lnTo>
                  <a:lnTo>
                    <a:pt x="375" y="788"/>
                  </a:lnTo>
                  <a:lnTo>
                    <a:pt x="370" y="782"/>
                  </a:lnTo>
                  <a:lnTo>
                    <a:pt x="370" y="788"/>
                  </a:lnTo>
                  <a:lnTo>
                    <a:pt x="375" y="788"/>
                  </a:lnTo>
                  <a:lnTo>
                    <a:pt x="375" y="793"/>
                  </a:lnTo>
                  <a:lnTo>
                    <a:pt x="380" y="793"/>
                  </a:lnTo>
                  <a:lnTo>
                    <a:pt x="380" y="798"/>
                  </a:lnTo>
                  <a:lnTo>
                    <a:pt x="375" y="798"/>
                  </a:lnTo>
                  <a:lnTo>
                    <a:pt x="380" y="798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75" y="814"/>
                  </a:lnTo>
                  <a:lnTo>
                    <a:pt x="380" y="820"/>
                  </a:lnTo>
                  <a:lnTo>
                    <a:pt x="38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0" y="820"/>
                  </a:lnTo>
                  <a:lnTo>
                    <a:pt x="364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5" y="831"/>
                  </a:lnTo>
                  <a:lnTo>
                    <a:pt x="375" y="836"/>
                  </a:lnTo>
                  <a:lnTo>
                    <a:pt x="370" y="836"/>
                  </a:lnTo>
                  <a:lnTo>
                    <a:pt x="370" y="841"/>
                  </a:lnTo>
                  <a:lnTo>
                    <a:pt x="375" y="841"/>
                  </a:lnTo>
                  <a:lnTo>
                    <a:pt x="370" y="841"/>
                  </a:lnTo>
                  <a:lnTo>
                    <a:pt x="370" y="847"/>
                  </a:lnTo>
                  <a:lnTo>
                    <a:pt x="375" y="847"/>
                  </a:lnTo>
                  <a:lnTo>
                    <a:pt x="375" y="852"/>
                  </a:lnTo>
                  <a:lnTo>
                    <a:pt x="370" y="852"/>
                  </a:lnTo>
                  <a:lnTo>
                    <a:pt x="364" y="852"/>
                  </a:lnTo>
                  <a:lnTo>
                    <a:pt x="370" y="852"/>
                  </a:lnTo>
                  <a:lnTo>
                    <a:pt x="370" y="857"/>
                  </a:lnTo>
                  <a:lnTo>
                    <a:pt x="370" y="863"/>
                  </a:lnTo>
                  <a:lnTo>
                    <a:pt x="370" y="857"/>
                  </a:lnTo>
                  <a:lnTo>
                    <a:pt x="370" y="852"/>
                  </a:lnTo>
                  <a:lnTo>
                    <a:pt x="375" y="857"/>
                  </a:lnTo>
                  <a:lnTo>
                    <a:pt x="380" y="857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6" y="868"/>
                  </a:lnTo>
                  <a:lnTo>
                    <a:pt x="380" y="863"/>
                  </a:lnTo>
                  <a:lnTo>
                    <a:pt x="380" y="868"/>
                  </a:lnTo>
                  <a:lnTo>
                    <a:pt x="386" y="868"/>
                  </a:lnTo>
                  <a:lnTo>
                    <a:pt x="386" y="863"/>
                  </a:lnTo>
                  <a:lnTo>
                    <a:pt x="391" y="863"/>
                  </a:lnTo>
                  <a:lnTo>
                    <a:pt x="391" y="868"/>
                  </a:lnTo>
                  <a:lnTo>
                    <a:pt x="386" y="868"/>
                  </a:lnTo>
                  <a:lnTo>
                    <a:pt x="386" y="873"/>
                  </a:lnTo>
                  <a:lnTo>
                    <a:pt x="391" y="873"/>
                  </a:lnTo>
                  <a:lnTo>
                    <a:pt x="386" y="868"/>
                  </a:lnTo>
                  <a:lnTo>
                    <a:pt x="391" y="868"/>
                  </a:lnTo>
                  <a:lnTo>
                    <a:pt x="391" y="873"/>
                  </a:lnTo>
                  <a:lnTo>
                    <a:pt x="391" y="868"/>
                  </a:lnTo>
                  <a:lnTo>
                    <a:pt x="396" y="868"/>
                  </a:lnTo>
                  <a:lnTo>
                    <a:pt x="396" y="873"/>
                  </a:lnTo>
                  <a:lnTo>
                    <a:pt x="402" y="879"/>
                  </a:lnTo>
                  <a:lnTo>
                    <a:pt x="396" y="879"/>
                  </a:lnTo>
                  <a:lnTo>
                    <a:pt x="396" y="884"/>
                  </a:lnTo>
                  <a:lnTo>
                    <a:pt x="402" y="879"/>
                  </a:lnTo>
                  <a:lnTo>
                    <a:pt x="402" y="884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7" y="895"/>
                  </a:lnTo>
                  <a:lnTo>
                    <a:pt x="402" y="895"/>
                  </a:lnTo>
                  <a:lnTo>
                    <a:pt x="402" y="900"/>
                  </a:lnTo>
                  <a:lnTo>
                    <a:pt x="407" y="900"/>
                  </a:lnTo>
                  <a:lnTo>
                    <a:pt x="402" y="900"/>
                  </a:lnTo>
                  <a:lnTo>
                    <a:pt x="396" y="900"/>
                  </a:lnTo>
                  <a:lnTo>
                    <a:pt x="402" y="900"/>
                  </a:lnTo>
                  <a:lnTo>
                    <a:pt x="396" y="906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2" y="916"/>
                  </a:lnTo>
                  <a:lnTo>
                    <a:pt x="402" y="911"/>
                  </a:lnTo>
                  <a:lnTo>
                    <a:pt x="402" y="916"/>
                  </a:lnTo>
                  <a:lnTo>
                    <a:pt x="402" y="922"/>
                  </a:lnTo>
                  <a:lnTo>
                    <a:pt x="407" y="922"/>
                  </a:lnTo>
                  <a:lnTo>
                    <a:pt x="407" y="916"/>
                  </a:lnTo>
                  <a:lnTo>
                    <a:pt x="407" y="911"/>
                  </a:lnTo>
                  <a:lnTo>
                    <a:pt x="407" y="906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7" y="927"/>
                  </a:lnTo>
                  <a:lnTo>
                    <a:pt x="413" y="938"/>
                  </a:lnTo>
                  <a:lnTo>
                    <a:pt x="418" y="938"/>
                  </a:lnTo>
                  <a:lnTo>
                    <a:pt x="418" y="943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18" y="954"/>
                  </a:lnTo>
                  <a:lnTo>
                    <a:pt x="423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23" y="965"/>
                  </a:lnTo>
                  <a:lnTo>
                    <a:pt x="423" y="970"/>
                  </a:lnTo>
                  <a:lnTo>
                    <a:pt x="423" y="975"/>
                  </a:lnTo>
                  <a:lnTo>
                    <a:pt x="423" y="981"/>
                  </a:lnTo>
                  <a:lnTo>
                    <a:pt x="423" y="986"/>
                  </a:lnTo>
                  <a:lnTo>
                    <a:pt x="429" y="986"/>
                  </a:lnTo>
                  <a:lnTo>
                    <a:pt x="423" y="986"/>
                  </a:lnTo>
                  <a:lnTo>
                    <a:pt x="429" y="991"/>
                  </a:lnTo>
                  <a:lnTo>
                    <a:pt x="423" y="991"/>
                  </a:lnTo>
                  <a:lnTo>
                    <a:pt x="429" y="991"/>
                  </a:lnTo>
                  <a:lnTo>
                    <a:pt x="429" y="997"/>
                  </a:lnTo>
                  <a:lnTo>
                    <a:pt x="434" y="997"/>
                  </a:lnTo>
                  <a:lnTo>
                    <a:pt x="434" y="991"/>
                  </a:lnTo>
                  <a:lnTo>
                    <a:pt x="439" y="991"/>
                  </a:lnTo>
                  <a:lnTo>
                    <a:pt x="439" y="986"/>
                  </a:lnTo>
                  <a:lnTo>
                    <a:pt x="439" y="991"/>
                  </a:lnTo>
                  <a:lnTo>
                    <a:pt x="439" y="997"/>
                  </a:lnTo>
                  <a:lnTo>
                    <a:pt x="439" y="1002"/>
                  </a:lnTo>
                  <a:lnTo>
                    <a:pt x="439" y="1007"/>
                  </a:lnTo>
                  <a:lnTo>
                    <a:pt x="439" y="1002"/>
                  </a:lnTo>
                  <a:lnTo>
                    <a:pt x="445" y="997"/>
                  </a:lnTo>
                  <a:lnTo>
                    <a:pt x="445" y="1002"/>
                  </a:lnTo>
                  <a:lnTo>
                    <a:pt x="445" y="1007"/>
                  </a:lnTo>
                  <a:lnTo>
                    <a:pt x="445" y="1018"/>
                  </a:lnTo>
                  <a:lnTo>
                    <a:pt x="439" y="1023"/>
                  </a:lnTo>
                  <a:lnTo>
                    <a:pt x="439" y="1029"/>
                  </a:lnTo>
                  <a:lnTo>
                    <a:pt x="439" y="1040"/>
                  </a:lnTo>
                  <a:lnTo>
                    <a:pt x="439" y="1045"/>
                  </a:lnTo>
                  <a:lnTo>
                    <a:pt x="439" y="1050"/>
                  </a:lnTo>
                  <a:lnTo>
                    <a:pt x="445" y="1056"/>
                  </a:lnTo>
                  <a:lnTo>
                    <a:pt x="445" y="1061"/>
                  </a:lnTo>
                  <a:lnTo>
                    <a:pt x="450" y="1061"/>
                  </a:lnTo>
                  <a:lnTo>
                    <a:pt x="445" y="1056"/>
                  </a:lnTo>
                  <a:lnTo>
                    <a:pt x="450" y="1056"/>
                  </a:lnTo>
                  <a:lnTo>
                    <a:pt x="450" y="1061"/>
                  </a:lnTo>
                  <a:lnTo>
                    <a:pt x="445" y="1061"/>
                  </a:lnTo>
                  <a:lnTo>
                    <a:pt x="439" y="1072"/>
                  </a:lnTo>
                  <a:lnTo>
                    <a:pt x="439" y="1077"/>
                  </a:lnTo>
                  <a:lnTo>
                    <a:pt x="439" y="1082"/>
                  </a:lnTo>
                  <a:lnTo>
                    <a:pt x="439" y="1088"/>
                  </a:lnTo>
                  <a:lnTo>
                    <a:pt x="439" y="1093"/>
                  </a:lnTo>
                  <a:lnTo>
                    <a:pt x="434" y="1099"/>
                  </a:lnTo>
                  <a:lnTo>
                    <a:pt x="434" y="1104"/>
                  </a:lnTo>
                  <a:lnTo>
                    <a:pt x="434" y="1109"/>
                  </a:lnTo>
                  <a:lnTo>
                    <a:pt x="434" y="1125"/>
                  </a:lnTo>
                  <a:lnTo>
                    <a:pt x="429" y="1125"/>
                  </a:lnTo>
                  <a:lnTo>
                    <a:pt x="429" y="1120"/>
                  </a:lnTo>
                  <a:lnTo>
                    <a:pt x="423" y="1120"/>
                  </a:lnTo>
                  <a:lnTo>
                    <a:pt x="423" y="1125"/>
                  </a:lnTo>
                  <a:lnTo>
                    <a:pt x="429" y="1125"/>
                  </a:lnTo>
                  <a:lnTo>
                    <a:pt x="429" y="1131"/>
                  </a:lnTo>
                  <a:lnTo>
                    <a:pt x="429" y="1136"/>
                  </a:lnTo>
                  <a:lnTo>
                    <a:pt x="429" y="1141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9" y="1141"/>
                  </a:lnTo>
                  <a:lnTo>
                    <a:pt x="429" y="1136"/>
                  </a:lnTo>
                  <a:lnTo>
                    <a:pt x="434" y="1136"/>
                  </a:lnTo>
                  <a:lnTo>
                    <a:pt x="434" y="1141"/>
                  </a:lnTo>
                  <a:lnTo>
                    <a:pt x="439" y="1141"/>
                  </a:lnTo>
                  <a:lnTo>
                    <a:pt x="439" y="1136"/>
                  </a:lnTo>
                  <a:lnTo>
                    <a:pt x="439" y="1131"/>
                  </a:lnTo>
                  <a:lnTo>
                    <a:pt x="445" y="1131"/>
                  </a:lnTo>
                  <a:lnTo>
                    <a:pt x="445" y="1136"/>
                  </a:lnTo>
                  <a:lnTo>
                    <a:pt x="445" y="1141"/>
                  </a:lnTo>
                  <a:lnTo>
                    <a:pt x="439" y="1147"/>
                  </a:lnTo>
                  <a:lnTo>
                    <a:pt x="439" y="1152"/>
                  </a:lnTo>
                  <a:lnTo>
                    <a:pt x="439" y="1158"/>
                  </a:lnTo>
                  <a:lnTo>
                    <a:pt x="439" y="1163"/>
                  </a:lnTo>
                  <a:lnTo>
                    <a:pt x="434" y="1168"/>
                  </a:lnTo>
                  <a:lnTo>
                    <a:pt x="434" y="1174"/>
                  </a:lnTo>
                  <a:lnTo>
                    <a:pt x="423" y="1184"/>
                  </a:lnTo>
                  <a:lnTo>
                    <a:pt x="418" y="1190"/>
                  </a:lnTo>
                  <a:lnTo>
                    <a:pt x="413" y="1190"/>
                  </a:lnTo>
                  <a:lnTo>
                    <a:pt x="413" y="1195"/>
                  </a:lnTo>
                  <a:lnTo>
                    <a:pt x="413" y="1200"/>
                  </a:lnTo>
                  <a:lnTo>
                    <a:pt x="407" y="1200"/>
                  </a:lnTo>
                  <a:lnTo>
                    <a:pt x="396" y="1206"/>
                  </a:lnTo>
                  <a:lnTo>
                    <a:pt x="380" y="1216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48" y="1227"/>
                  </a:lnTo>
                  <a:lnTo>
                    <a:pt x="343" y="1227"/>
                  </a:lnTo>
                  <a:lnTo>
                    <a:pt x="332" y="1233"/>
                  </a:lnTo>
                  <a:lnTo>
                    <a:pt x="316" y="1238"/>
                  </a:lnTo>
                  <a:lnTo>
                    <a:pt x="311" y="1238"/>
                  </a:lnTo>
                  <a:lnTo>
                    <a:pt x="305" y="1238"/>
                  </a:lnTo>
                  <a:lnTo>
                    <a:pt x="305" y="1243"/>
                  </a:lnTo>
                  <a:lnTo>
                    <a:pt x="300" y="1243"/>
                  </a:lnTo>
                  <a:lnTo>
                    <a:pt x="289" y="1243"/>
                  </a:lnTo>
                  <a:lnTo>
                    <a:pt x="284" y="1249"/>
                  </a:lnTo>
                  <a:lnTo>
                    <a:pt x="273" y="1254"/>
                  </a:lnTo>
                  <a:lnTo>
                    <a:pt x="268" y="1254"/>
                  </a:lnTo>
                  <a:lnTo>
                    <a:pt x="252" y="1265"/>
                  </a:lnTo>
                  <a:lnTo>
                    <a:pt x="241" y="1270"/>
                  </a:lnTo>
                  <a:lnTo>
                    <a:pt x="236" y="1270"/>
                  </a:lnTo>
                  <a:lnTo>
                    <a:pt x="225" y="1281"/>
                  </a:lnTo>
                  <a:lnTo>
                    <a:pt x="220" y="1281"/>
                  </a:lnTo>
                  <a:lnTo>
                    <a:pt x="220" y="1286"/>
                  </a:lnTo>
                  <a:lnTo>
                    <a:pt x="214" y="1292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297"/>
                  </a:lnTo>
                  <a:lnTo>
                    <a:pt x="203" y="1297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3" y="1308"/>
                  </a:lnTo>
                  <a:lnTo>
                    <a:pt x="203" y="1313"/>
                  </a:lnTo>
                  <a:lnTo>
                    <a:pt x="198" y="1318"/>
                  </a:lnTo>
                  <a:lnTo>
                    <a:pt x="193" y="1313"/>
                  </a:lnTo>
                  <a:lnTo>
                    <a:pt x="187" y="1318"/>
                  </a:lnTo>
                  <a:lnTo>
                    <a:pt x="187" y="1324"/>
                  </a:lnTo>
                  <a:lnTo>
                    <a:pt x="193" y="1318"/>
                  </a:lnTo>
                  <a:lnTo>
                    <a:pt x="187" y="1318"/>
                  </a:lnTo>
                  <a:lnTo>
                    <a:pt x="193" y="1318"/>
                  </a:lnTo>
                  <a:lnTo>
                    <a:pt x="198" y="1318"/>
                  </a:lnTo>
                  <a:lnTo>
                    <a:pt x="198" y="1324"/>
                  </a:lnTo>
                  <a:lnTo>
                    <a:pt x="203" y="1329"/>
                  </a:lnTo>
                  <a:lnTo>
                    <a:pt x="203" y="1334"/>
                  </a:lnTo>
                  <a:lnTo>
                    <a:pt x="203" y="1340"/>
                  </a:lnTo>
                  <a:lnTo>
                    <a:pt x="209" y="1345"/>
                  </a:lnTo>
                  <a:lnTo>
                    <a:pt x="209" y="1350"/>
                  </a:lnTo>
                  <a:lnTo>
                    <a:pt x="203" y="1350"/>
                  </a:lnTo>
                  <a:lnTo>
                    <a:pt x="209" y="1345"/>
                  </a:lnTo>
                  <a:lnTo>
                    <a:pt x="203" y="1334"/>
                  </a:lnTo>
                  <a:lnTo>
                    <a:pt x="209" y="1334"/>
                  </a:lnTo>
                  <a:lnTo>
                    <a:pt x="214" y="1340"/>
                  </a:lnTo>
                  <a:lnTo>
                    <a:pt x="214" y="1345"/>
                  </a:lnTo>
                  <a:lnTo>
                    <a:pt x="220" y="1345"/>
                  </a:lnTo>
                  <a:lnTo>
                    <a:pt x="225" y="1345"/>
                  </a:lnTo>
                  <a:lnTo>
                    <a:pt x="220" y="1340"/>
                  </a:lnTo>
                  <a:lnTo>
                    <a:pt x="220" y="1334"/>
                  </a:lnTo>
                  <a:lnTo>
                    <a:pt x="225" y="1329"/>
                  </a:lnTo>
                  <a:lnTo>
                    <a:pt x="230" y="1329"/>
                  </a:lnTo>
                  <a:lnTo>
                    <a:pt x="225" y="1345"/>
                  </a:lnTo>
                  <a:lnTo>
                    <a:pt x="225" y="1350"/>
                  </a:lnTo>
                  <a:lnTo>
                    <a:pt x="225" y="1356"/>
                  </a:lnTo>
                  <a:lnTo>
                    <a:pt x="225" y="1361"/>
                  </a:lnTo>
                  <a:lnTo>
                    <a:pt x="225" y="1372"/>
                  </a:lnTo>
                  <a:lnTo>
                    <a:pt x="225" y="1377"/>
                  </a:lnTo>
                  <a:lnTo>
                    <a:pt x="225" y="1383"/>
                  </a:lnTo>
                  <a:lnTo>
                    <a:pt x="225" y="1388"/>
                  </a:lnTo>
                  <a:lnTo>
                    <a:pt x="225" y="1393"/>
                  </a:lnTo>
                  <a:lnTo>
                    <a:pt x="220" y="1393"/>
                  </a:lnTo>
                  <a:lnTo>
                    <a:pt x="214" y="1393"/>
                  </a:lnTo>
                  <a:lnTo>
                    <a:pt x="182" y="1393"/>
                  </a:lnTo>
                  <a:lnTo>
                    <a:pt x="177" y="1393"/>
                  </a:lnTo>
                  <a:lnTo>
                    <a:pt x="171" y="1393"/>
                  </a:lnTo>
                  <a:lnTo>
                    <a:pt x="166" y="1388"/>
                  </a:lnTo>
                  <a:lnTo>
                    <a:pt x="166" y="1393"/>
                  </a:lnTo>
                  <a:lnTo>
                    <a:pt x="161" y="1393"/>
                  </a:lnTo>
                  <a:lnTo>
                    <a:pt x="161" y="1388"/>
                  </a:lnTo>
                  <a:lnTo>
                    <a:pt x="161" y="1367"/>
                  </a:lnTo>
                  <a:lnTo>
                    <a:pt x="155" y="1356"/>
                  </a:lnTo>
                  <a:lnTo>
                    <a:pt x="155" y="1350"/>
                  </a:lnTo>
                  <a:lnTo>
                    <a:pt x="155" y="1345"/>
                  </a:lnTo>
                  <a:lnTo>
                    <a:pt x="155" y="1334"/>
                  </a:lnTo>
                  <a:lnTo>
                    <a:pt x="155" y="1318"/>
                  </a:lnTo>
                  <a:lnTo>
                    <a:pt x="150" y="1318"/>
                  </a:lnTo>
                  <a:lnTo>
                    <a:pt x="150" y="1313"/>
                  </a:lnTo>
                  <a:lnTo>
                    <a:pt x="144" y="1308"/>
                  </a:lnTo>
                  <a:lnTo>
                    <a:pt x="144" y="1297"/>
                  </a:lnTo>
                  <a:lnTo>
                    <a:pt x="150" y="1292"/>
                  </a:lnTo>
                  <a:lnTo>
                    <a:pt x="150" y="1286"/>
                  </a:lnTo>
                  <a:lnTo>
                    <a:pt x="150" y="1281"/>
                  </a:lnTo>
                  <a:lnTo>
                    <a:pt x="144" y="1281"/>
                  </a:lnTo>
                  <a:lnTo>
                    <a:pt x="150" y="1275"/>
                  </a:lnTo>
                  <a:lnTo>
                    <a:pt x="150" y="1270"/>
                  </a:lnTo>
                  <a:lnTo>
                    <a:pt x="150" y="1265"/>
                  </a:lnTo>
                  <a:lnTo>
                    <a:pt x="150" y="1259"/>
                  </a:lnTo>
                  <a:lnTo>
                    <a:pt x="150" y="1243"/>
                  </a:lnTo>
                  <a:lnTo>
                    <a:pt x="150" y="1238"/>
                  </a:lnTo>
                  <a:lnTo>
                    <a:pt x="150" y="1233"/>
                  </a:lnTo>
                  <a:lnTo>
                    <a:pt x="150" y="1206"/>
                  </a:lnTo>
                  <a:lnTo>
                    <a:pt x="150" y="1190"/>
                  </a:lnTo>
                  <a:lnTo>
                    <a:pt x="150" y="1184"/>
                  </a:lnTo>
                  <a:lnTo>
                    <a:pt x="150" y="1174"/>
                  </a:lnTo>
                  <a:lnTo>
                    <a:pt x="139" y="1168"/>
                  </a:lnTo>
                  <a:lnTo>
                    <a:pt x="139" y="1152"/>
                  </a:lnTo>
                  <a:lnTo>
                    <a:pt x="139" y="1147"/>
                  </a:lnTo>
                  <a:lnTo>
                    <a:pt x="128" y="1141"/>
                  </a:lnTo>
                  <a:lnTo>
                    <a:pt x="123" y="1125"/>
                  </a:lnTo>
                  <a:lnTo>
                    <a:pt x="123" y="1115"/>
                  </a:lnTo>
                  <a:lnTo>
                    <a:pt x="112" y="1104"/>
                  </a:lnTo>
                  <a:lnTo>
                    <a:pt x="112" y="1099"/>
                  </a:lnTo>
                  <a:lnTo>
                    <a:pt x="112" y="1077"/>
                  </a:lnTo>
                  <a:lnTo>
                    <a:pt x="91" y="1018"/>
                  </a:lnTo>
                  <a:lnTo>
                    <a:pt x="91" y="1013"/>
                  </a:lnTo>
                  <a:lnTo>
                    <a:pt x="96" y="1013"/>
                  </a:lnTo>
                  <a:lnTo>
                    <a:pt x="107" y="1002"/>
                  </a:lnTo>
                  <a:lnTo>
                    <a:pt x="107" y="997"/>
                  </a:lnTo>
                  <a:lnTo>
                    <a:pt x="139" y="970"/>
                  </a:lnTo>
                  <a:lnTo>
                    <a:pt x="182" y="922"/>
                  </a:lnTo>
                  <a:lnTo>
                    <a:pt x="187" y="922"/>
                  </a:lnTo>
                  <a:lnTo>
                    <a:pt x="182" y="916"/>
                  </a:lnTo>
                  <a:lnTo>
                    <a:pt x="182" y="911"/>
                  </a:lnTo>
                  <a:lnTo>
                    <a:pt x="177" y="906"/>
                  </a:lnTo>
                  <a:lnTo>
                    <a:pt x="182" y="906"/>
                  </a:lnTo>
                  <a:lnTo>
                    <a:pt x="187" y="900"/>
                  </a:lnTo>
                  <a:lnTo>
                    <a:pt x="187" y="895"/>
                  </a:lnTo>
                  <a:lnTo>
                    <a:pt x="193" y="889"/>
                  </a:lnTo>
                  <a:lnTo>
                    <a:pt x="193" y="884"/>
                  </a:lnTo>
                  <a:lnTo>
                    <a:pt x="193" y="879"/>
                  </a:lnTo>
                  <a:lnTo>
                    <a:pt x="187" y="868"/>
                  </a:lnTo>
                  <a:lnTo>
                    <a:pt x="187" y="863"/>
                  </a:lnTo>
                  <a:lnTo>
                    <a:pt x="193" y="863"/>
                  </a:lnTo>
                  <a:lnTo>
                    <a:pt x="198" y="857"/>
                  </a:lnTo>
                  <a:lnTo>
                    <a:pt x="203" y="857"/>
                  </a:lnTo>
                  <a:lnTo>
                    <a:pt x="209" y="847"/>
                  </a:lnTo>
                  <a:lnTo>
                    <a:pt x="214" y="841"/>
                  </a:lnTo>
                  <a:lnTo>
                    <a:pt x="214" y="836"/>
                  </a:lnTo>
                  <a:lnTo>
                    <a:pt x="220" y="836"/>
                  </a:lnTo>
                  <a:lnTo>
                    <a:pt x="220" y="831"/>
                  </a:lnTo>
                  <a:lnTo>
                    <a:pt x="220" y="825"/>
                  </a:lnTo>
                  <a:lnTo>
                    <a:pt x="220" y="820"/>
                  </a:lnTo>
                  <a:lnTo>
                    <a:pt x="225" y="820"/>
                  </a:lnTo>
                  <a:lnTo>
                    <a:pt x="225" y="814"/>
                  </a:lnTo>
                  <a:lnTo>
                    <a:pt x="230" y="814"/>
                  </a:lnTo>
                  <a:lnTo>
                    <a:pt x="230" y="809"/>
                  </a:lnTo>
                  <a:lnTo>
                    <a:pt x="236" y="793"/>
                  </a:lnTo>
                  <a:lnTo>
                    <a:pt x="236" y="788"/>
                  </a:lnTo>
                  <a:lnTo>
                    <a:pt x="230" y="788"/>
                  </a:lnTo>
                  <a:lnTo>
                    <a:pt x="230" y="782"/>
                  </a:lnTo>
                  <a:lnTo>
                    <a:pt x="225" y="782"/>
                  </a:lnTo>
                  <a:lnTo>
                    <a:pt x="220" y="782"/>
                  </a:lnTo>
                  <a:lnTo>
                    <a:pt x="220" y="777"/>
                  </a:lnTo>
                  <a:lnTo>
                    <a:pt x="220" y="772"/>
                  </a:lnTo>
                  <a:lnTo>
                    <a:pt x="220" y="766"/>
                  </a:lnTo>
                  <a:lnTo>
                    <a:pt x="214" y="766"/>
                  </a:lnTo>
                  <a:lnTo>
                    <a:pt x="214" y="761"/>
                  </a:lnTo>
                  <a:lnTo>
                    <a:pt x="214" y="755"/>
                  </a:lnTo>
                  <a:lnTo>
                    <a:pt x="220" y="750"/>
                  </a:lnTo>
                  <a:lnTo>
                    <a:pt x="220" y="745"/>
                  </a:lnTo>
                  <a:lnTo>
                    <a:pt x="220" y="734"/>
                  </a:lnTo>
                  <a:lnTo>
                    <a:pt x="220" y="729"/>
                  </a:lnTo>
                  <a:lnTo>
                    <a:pt x="220" y="723"/>
                  </a:lnTo>
                  <a:lnTo>
                    <a:pt x="214" y="723"/>
                  </a:lnTo>
                  <a:lnTo>
                    <a:pt x="214" y="729"/>
                  </a:lnTo>
                  <a:lnTo>
                    <a:pt x="209" y="729"/>
                  </a:lnTo>
                  <a:lnTo>
                    <a:pt x="209" y="723"/>
                  </a:lnTo>
                  <a:lnTo>
                    <a:pt x="209" y="718"/>
                  </a:lnTo>
                  <a:lnTo>
                    <a:pt x="209" y="713"/>
                  </a:lnTo>
                  <a:lnTo>
                    <a:pt x="209" y="707"/>
                  </a:lnTo>
                  <a:lnTo>
                    <a:pt x="214" y="707"/>
                  </a:lnTo>
                  <a:lnTo>
                    <a:pt x="220" y="707"/>
                  </a:lnTo>
                  <a:lnTo>
                    <a:pt x="225" y="707"/>
                  </a:lnTo>
                  <a:lnTo>
                    <a:pt x="225" y="702"/>
                  </a:lnTo>
                  <a:lnTo>
                    <a:pt x="230" y="697"/>
                  </a:lnTo>
                  <a:lnTo>
                    <a:pt x="225" y="691"/>
                  </a:lnTo>
                  <a:lnTo>
                    <a:pt x="225" y="686"/>
                  </a:lnTo>
                  <a:lnTo>
                    <a:pt x="220" y="686"/>
                  </a:lnTo>
                  <a:lnTo>
                    <a:pt x="225" y="680"/>
                  </a:lnTo>
                  <a:lnTo>
                    <a:pt x="230" y="680"/>
                  </a:lnTo>
                  <a:lnTo>
                    <a:pt x="236" y="680"/>
                  </a:lnTo>
                  <a:lnTo>
                    <a:pt x="236" y="675"/>
                  </a:lnTo>
                  <a:lnTo>
                    <a:pt x="236" y="670"/>
                  </a:lnTo>
                  <a:lnTo>
                    <a:pt x="230" y="664"/>
                  </a:lnTo>
                  <a:lnTo>
                    <a:pt x="230" y="659"/>
                  </a:lnTo>
                  <a:lnTo>
                    <a:pt x="230" y="654"/>
                  </a:lnTo>
                  <a:lnTo>
                    <a:pt x="230" y="648"/>
                  </a:lnTo>
                  <a:lnTo>
                    <a:pt x="230" y="643"/>
                  </a:lnTo>
                  <a:lnTo>
                    <a:pt x="225" y="643"/>
                  </a:lnTo>
                  <a:lnTo>
                    <a:pt x="225" y="638"/>
                  </a:lnTo>
                  <a:lnTo>
                    <a:pt x="230" y="638"/>
                  </a:lnTo>
                  <a:lnTo>
                    <a:pt x="230" y="632"/>
                  </a:lnTo>
                  <a:lnTo>
                    <a:pt x="230" y="627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16"/>
                  </a:lnTo>
                  <a:lnTo>
                    <a:pt x="236" y="616"/>
                  </a:lnTo>
                  <a:lnTo>
                    <a:pt x="230" y="616"/>
                  </a:lnTo>
                  <a:lnTo>
                    <a:pt x="236" y="611"/>
                  </a:lnTo>
                  <a:lnTo>
                    <a:pt x="236" y="605"/>
                  </a:lnTo>
                  <a:lnTo>
                    <a:pt x="230" y="605"/>
                  </a:lnTo>
                  <a:lnTo>
                    <a:pt x="230" y="600"/>
                  </a:lnTo>
                  <a:lnTo>
                    <a:pt x="230" y="595"/>
                  </a:lnTo>
                  <a:lnTo>
                    <a:pt x="230" y="589"/>
                  </a:lnTo>
                  <a:lnTo>
                    <a:pt x="236" y="584"/>
                  </a:lnTo>
                  <a:lnTo>
                    <a:pt x="230" y="579"/>
                  </a:lnTo>
                  <a:lnTo>
                    <a:pt x="230" y="568"/>
                  </a:lnTo>
                  <a:lnTo>
                    <a:pt x="225" y="562"/>
                  </a:lnTo>
                  <a:lnTo>
                    <a:pt x="220" y="552"/>
                  </a:lnTo>
                  <a:lnTo>
                    <a:pt x="220" y="546"/>
                  </a:lnTo>
                  <a:lnTo>
                    <a:pt x="225" y="546"/>
                  </a:lnTo>
                  <a:lnTo>
                    <a:pt x="230" y="536"/>
                  </a:lnTo>
                  <a:lnTo>
                    <a:pt x="230" y="530"/>
                  </a:lnTo>
                  <a:lnTo>
                    <a:pt x="225" y="530"/>
                  </a:lnTo>
                  <a:lnTo>
                    <a:pt x="220" y="530"/>
                  </a:lnTo>
                  <a:lnTo>
                    <a:pt x="214" y="530"/>
                  </a:lnTo>
                  <a:lnTo>
                    <a:pt x="209" y="530"/>
                  </a:lnTo>
                  <a:lnTo>
                    <a:pt x="209" y="525"/>
                  </a:lnTo>
                  <a:lnTo>
                    <a:pt x="209" y="520"/>
                  </a:lnTo>
                  <a:lnTo>
                    <a:pt x="187" y="514"/>
                  </a:lnTo>
                  <a:lnTo>
                    <a:pt x="182" y="509"/>
                  </a:lnTo>
                  <a:lnTo>
                    <a:pt x="177" y="509"/>
                  </a:lnTo>
                  <a:lnTo>
                    <a:pt x="171" y="509"/>
                  </a:lnTo>
                  <a:lnTo>
                    <a:pt x="150" y="509"/>
                  </a:lnTo>
                  <a:lnTo>
                    <a:pt x="139" y="504"/>
                  </a:lnTo>
                  <a:lnTo>
                    <a:pt x="139" y="498"/>
                  </a:lnTo>
                  <a:lnTo>
                    <a:pt x="134" y="498"/>
                  </a:lnTo>
                  <a:lnTo>
                    <a:pt x="134" y="493"/>
                  </a:lnTo>
                  <a:lnTo>
                    <a:pt x="128" y="493"/>
                  </a:lnTo>
                  <a:lnTo>
                    <a:pt x="128" y="487"/>
                  </a:lnTo>
                  <a:lnTo>
                    <a:pt x="123" y="487"/>
                  </a:lnTo>
                  <a:lnTo>
                    <a:pt x="118" y="487"/>
                  </a:lnTo>
                  <a:lnTo>
                    <a:pt x="112" y="487"/>
                  </a:lnTo>
                  <a:lnTo>
                    <a:pt x="107" y="482"/>
                  </a:lnTo>
                  <a:lnTo>
                    <a:pt x="102" y="482"/>
                  </a:lnTo>
                  <a:lnTo>
                    <a:pt x="96" y="477"/>
                  </a:lnTo>
                  <a:lnTo>
                    <a:pt x="91" y="471"/>
                  </a:lnTo>
                  <a:lnTo>
                    <a:pt x="85" y="471"/>
                  </a:lnTo>
                  <a:lnTo>
                    <a:pt x="80" y="471"/>
                  </a:lnTo>
                  <a:lnTo>
                    <a:pt x="80" y="466"/>
                  </a:lnTo>
                  <a:lnTo>
                    <a:pt x="75" y="466"/>
                  </a:lnTo>
                  <a:lnTo>
                    <a:pt x="75" y="471"/>
                  </a:lnTo>
                  <a:lnTo>
                    <a:pt x="69" y="471"/>
                  </a:lnTo>
                  <a:lnTo>
                    <a:pt x="64" y="477"/>
                  </a:lnTo>
                  <a:lnTo>
                    <a:pt x="64" y="471"/>
                  </a:lnTo>
                  <a:lnTo>
                    <a:pt x="59" y="471"/>
                  </a:lnTo>
                  <a:lnTo>
                    <a:pt x="16" y="471"/>
                  </a:lnTo>
                  <a:lnTo>
                    <a:pt x="16" y="439"/>
                  </a:lnTo>
                  <a:lnTo>
                    <a:pt x="16" y="434"/>
                  </a:lnTo>
                  <a:lnTo>
                    <a:pt x="10" y="434"/>
                  </a:lnTo>
                  <a:lnTo>
                    <a:pt x="16" y="428"/>
                  </a:lnTo>
                  <a:lnTo>
                    <a:pt x="16" y="423"/>
                  </a:lnTo>
                  <a:lnTo>
                    <a:pt x="16" y="418"/>
                  </a:lnTo>
                  <a:lnTo>
                    <a:pt x="16" y="412"/>
                  </a:lnTo>
                  <a:lnTo>
                    <a:pt x="10" y="412"/>
                  </a:lnTo>
                  <a:lnTo>
                    <a:pt x="10" y="407"/>
                  </a:lnTo>
                  <a:lnTo>
                    <a:pt x="5" y="407"/>
                  </a:lnTo>
                  <a:lnTo>
                    <a:pt x="5" y="402"/>
                  </a:lnTo>
                  <a:lnTo>
                    <a:pt x="5" y="396"/>
                  </a:lnTo>
                  <a:lnTo>
                    <a:pt x="0" y="396"/>
                  </a:lnTo>
                  <a:lnTo>
                    <a:pt x="0" y="391"/>
                  </a:lnTo>
                  <a:lnTo>
                    <a:pt x="0" y="386"/>
                  </a:lnTo>
                  <a:lnTo>
                    <a:pt x="10" y="380"/>
                  </a:lnTo>
                  <a:lnTo>
                    <a:pt x="27" y="375"/>
                  </a:lnTo>
                  <a:lnTo>
                    <a:pt x="37" y="370"/>
                  </a:lnTo>
                  <a:lnTo>
                    <a:pt x="48" y="364"/>
                  </a:lnTo>
                  <a:lnTo>
                    <a:pt x="69" y="359"/>
                  </a:lnTo>
                  <a:lnTo>
                    <a:pt x="75" y="359"/>
                  </a:lnTo>
                  <a:lnTo>
                    <a:pt x="80" y="359"/>
                  </a:lnTo>
                  <a:lnTo>
                    <a:pt x="85" y="353"/>
                  </a:lnTo>
                  <a:lnTo>
                    <a:pt x="107" y="353"/>
                  </a:lnTo>
                  <a:lnTo>
                    <a:pt x="123" y="343"/>
                  </a:lnTo>
                  <a:lnTo>
                    <a:pt x="134" y="343"/>
                  </a:lnTo>
                  <a:lnTo>
                    <a:pt x="144" y="332"/>
                  </a:lnTo>
                  <a:lnTo>
                    <a:pt x="155" y="332"/>
                  </a:lnTo>
                  <a:lnTo>
                    <a:pt x="171" y="327"/>
                  </a:lnTo>
                  <a:lnTo>
                    <a:pt x="187" y="321"/>
                  </a:lnTo>
                  <a:lnTo>
                    <a:pt x="198" y="316"/>
                  </a:lnTo>
                  <a:lnTo>
                    <a:pt x="252" y="30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grpSp>
          <p:nvGrpSpPr>
            <p:cNvPr id="14381" name="Group 58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4128" y="1936"/>
              <a:ext cx="378" cy="440"/>
              <a:chOff x="2555" y="2549"/>
              <a:chExt cx="520" cy="577"/>
            </a:xfrm>
          </p:grpSpPr>
          <p:sp>
            <p:nvSpPr>
              <p:cNvPr id="14454" name="Freeform 59"/>
              <p:cNvSpPr>
                <a:spLocks noChangeAspect="1"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2555" y="2611"/>
                <a:ext cx="520" cy="515"/>
              </a:xfrm>
              <a:custGeom>
                <a:avLst/>
                <a:gdLst>
                  <a:gd name="T0" fmla="*/ 39 w 612"/>
                  <a:gd name="T1" fmla="*/ 0 h 606"/>
                  <a:gd name="T2" fmla="*/ 54 w 612"/>
                  <a:gd name="T3" fmla="*/ 0 h 606"/>
                  <a:gd name="T4" fmla="*/ 86 w 612"/>
                  <a:gd name="T5" fmla="*/ 0 h 606"/>
                  <a:gd name="T6" fmla="*/ 93 w 612"/>
                  <a:gd name="T7" fmla="*/ 8 h 606"/>
                  <a:gd name="T8" fmla="*/ 97 w 612"/>
                  <a:gd name="T9" fmla="*/ 20 h 606"/>
                  <a:gd name="T10" fmla="*/ 102 w 612"/>
                  <a:gd name="T11" fmla="*/ 31 h 606"/>
                  <a:gd name="T12" fmla="*/ 108 w 612"/>
                  <a:gd name="T13" fmla="*/ 41 h 606"/>
                  <a:gd name="T14" fmla="*/ 117 w 612"/>
                  <a:gd name="T15" fmla="*/ 41 h 606"/>
                  <a:gd name="T16" fmla="*/ 132 w 612"/>
                  <a:gd name="T17" fmla="*/ 41 h 606"/>
                  <a:gd name="T18" fmla="*/ 144 w 612"/>
                  <a:gd name="T19" fmla="*/ 30 h 606"/>
                  <a:gd name="T20" fmla="*/ 161 w 612"/>
                  <a:gd name="T21" fmla="*/ 20 h 606"/>
                  <a:gd name="T22" fmla="*/ 187 w 612"/>
                  <a:gd name="T23" fmla="*/ 30 h 606"/>
                  <a:gd name="T24" fmla="*/ 187 w 612"/>
                  <a:gd name="T25" fmla="*/ 34 h 606"/>
                  <a:gd name="T26" fmla="*/ 189 w 612"/>
                  <a:gd name="T27" fmla="*/ 50 h 606"/>
                  <a:gd name="T28" fmla="*/ 189 w 612"/>
                  <a:gd name="T29" fmla="*/ 64 h 606"/>
                  <a:gd name="T30" fmla="*/ 192 w 612"/>
                  <a:gd name="T31" fmla="*/ 72 h 606"/>
                  <a:gd name="T32" fmla="*/ 196 w 612"/>
                  <a:gd name="T33" fmla="*/ 86 h 606"/>
                  <a:gd name="T34" fmla="*/ 194 w 612"/>
                  <a:gd name="T35" fmla="*/ 95 h 606"/>
                  <a:gd name="T36" fmla="*/ 201 w 612"/>
                  <a:gd name="T37" fmla="*/ 97 h 606"/>
                  <a:gd name="T38" fmla="*/ 212 w 612"/>
                  <a:gd name="T39" fmla="*/ 99 h 606"/>
                  <a:gd name="T40" fmla="*/ 222 w 612"/>
                  <a:gd name="T41" fmla="*/ 97 h 606"/>
                  <a:gd name="T42" fmla="*/ 230 w 612"/>
                  <a:gd name="T43" fmla="*/ 99 h 606"/>
                  <a:gd name="T44" fmla="*/ 230 w 612"/>
                  <a:gd name="T45" fmla="*/ 110 h 606"/>
                  <a:gd name="T46" fmla="*/ 230 w 612"/>
                  <a:gd name="T47" fmla="*/ 124 h 606"/>
                  <a:gd name="T48" fmla="*/ 192 w 612"/>
                  <a:gd name="T49" fmla="*/ 195 h 606"/>
                  <a:gd name="T50" fmla="*/ 203 w 612"/>
                  <a:gd name="T51" fmla="*/ 208 h 606"/>
                  <a:gd name="T52" fmla="*/ 212 w 612"/>
                  <a:gd name="T53" fmla="*/ 218 h 606"/>
                  <a:gd name="T54" fmla="*/ 181 w 612"/>
                  <a:gd name="T55" fmla="*/ 229 h 606"/>
                  <a:gd name="T56" fmla="*/ 167 w 612"/>
                  <a:gd name="T57" fmla="*/ 229 h 606"/>
                  <a:gd name="T58" fmla="*/ 157 w 612"/>
                  <a:gd name="T59" fmla="*/ 226 h 606"/>
                  <a:gd name="T60" fmla="*/ 146 w 612"/>
                  <a:gd name="T61" fmla="*/ 224 h 606"/>
                  <a:gd name="T62" fmla="*/ 144 w 612"/>
                  <a:gd name="T63" fmla="*/ 224 h 606"/>
                  <a:gd name="T64" fmla="*/ 133 w 612"/>
                  <a:gd name="T65" fmla="*/ 224 h 606"/>
                  <a:gd name="T66" fmla="*/ 124 w 612"/>
                  <a:gd name="T67" fmla="*/ 218 h 606"/>
                  <a:gd name="T68" fmla="*/ 41 w 612"/>
                  <a:gd name="T69" fmla="*/ 218 h 606"/>
                  <a:gd name="T70" fmla="*/ 31 w 612"/>
                  <a:gd name="T71" fmla="*/ 210 h 606"/>
                  <a:gd name="T72" fmla="*/ 22 w 612"/>
                  <a:gd name="T73" fmla="*/ 208 h 606"/>
                  <a:gd name="T74" fmla="*/ 14 w 612"/>
                  <a:gd name="T75" fmla="*/ 212 h 606"/>
                  <a:gd name="T76" fmla="*/ 0 w 612"/>
                  <a:gd name="T77" fmla="*/ 214 h 606"/>
                  <a:gd name="T78" fmla="*/ 0 w 612"/>
                  <a:gd name="T79" fmla="*/ 196 h 606"/>
                  <a:gd name="T80" fmla="*/ 3 w 612"/>
                  <a:gd name="T81" fmla="*/ 185 h 606"/>
                  <a:gd name="T82" fmla="*/ 7 w 612"/>
                  <a:gd name="T83" fmla="*/ 172 h 606"/>
                  <a:gd name="T84" fmla="*/ 11 w 612"/>
                  <a:gd name="T85" fmla="*/ 161 h 606"/>
                  <a:gd name="T86" fmla="*/ 11 w 612"/>
                  <a:gd name="T87" fmla="*/ 150 h 606"/>
                  <a:gd name="T88" fmla="*/ 14 w 612"/>
                  <a:gd name="T89" fmla="*/ 144 h 606"/>
                  <a:gd name="T90" fmla="*/ 16 w 612"/>
                  <a:gd name="T91" fmla="*/ 141 h 606"/>
                  <a:gd name="T92" fmla="*/ 25 w 612"/>
                  <a:gd name="T93" fmla="*/ 128 h 606"/>
                  <a:gd name="T94" fmla="*/ 31 w 612"/>
                  <a:gd name="T95" fmla="*/ 124 h 606"/>
                  <a:gd name="T96" fmla="*/ 36 w 612"/>
                  <a:gd name="T97" fmla="*/ 117 h 606"/>
                  <a:gd name="T98" fmla="*/ 39 w 612"/>
                  <a:gd name="T99" fmla="*/ 104 h 606"/>
                  <a:gd name="T100" fmla="*/ 36 w 612"/>
                  <a:gd name="T101" fmla="*/ 90 h 606"/>
                  <a:gd name="T102" fmla="*/ 34 w 612"/>
                  <a:gd name="T103" fmla="*/ 82 h 606"/>
                  <a:gd name="T104" fmla="*/ 26 w 612"/>
                  <a:gd name="T105" fmla="*/ 72 h 606"/>
                  <a:gd name="T106" fmla="*/ 22 w 612"/>
                  <a:gd name="T107" fmla="*/ 59 h 606"/>
                  <a:gd name="T108" fmla="*/ 22 w 612"/>
                  <a:gd name="T109" fmla="*/ 60 h 606"/>
                  <a:gd name="T110" fmla="*/ 31 w 612"/>
                  <a:gd name="T111" fmla="*/ 51 h 606"/>
                  <a:gd name="T112" fmla="*/ 30 w 612"/>
                  <a:gd name="T113" fmla="*/ 46 h 606"/>
                  <a:gd name="T114" fmla="*/ 25 w 612"/>
                  <a:gd name="T115" fmla="*/ 34 h 606"/>
                  <a:gd name="T116" fmla="*/ 20 w 612"/>
                  <a:gd name="T117" fmla="*/ 22 h 606"/>
                  <a:gd name="T118" fmla="*/ 14 w 612"/>
                  <a:gd name="T119" fmla="*/ 11 h 606"/>
                  <a:gd name="T120" fmla="*/ 8 w 612"/>
                  <a:gd name="T121" fmla="*/ 4 h 606"/>
                  <a:gd name="T122" fmla="*/ 20 w 612"/>
                  <a:gd name="T123" fmla="*/ 4 h 60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12" h="606">
                    <a:moveTo>
                      <a:pt x="60" y="0"/>
                    </a:move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6" y="0"/>
                    </a:lnTo>
                    <a:lnTo>
                      <a:pt x="132" y="0"/>
                    </a:lnTo>
                    <a:lnTo>
                      <a:pt x="138" y="0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6" y="0"/>
                    </a:lnTo>
                    <a:lnTo>
                      <a:pt x="168" y="0"/>
                    </a:lnTo>
                    <a:lnTo>
                      <a:pt x="186" y="0"/>
                    </a:lnTo>
                    <a:lnTo>
                      <a:pt x="192" y="0"/>
                    </a:lnTo>
                    <a:lnTo>
                      <a:pt x="20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40" y="6"/>
                    </a:lnTo>
                    <a:lnTo>
                      <a:pt x="240" y="12"/>
                    </a:lnTo>
                    <a:lnTo>
                      <a:pt x="246" y="12"/>
                    </a:lnTo>
                    <a:lnTo>
                      <a:pt x="246" y="18"/>
                    </a:lnTo>
                    <a:lnTo>
                      <a:pt x="246" y="24"/>
                    </a:lnTo>
                    <a:lnTo>
                      <a:pt x="246" y="30"/>
                    </a:lnTo>
                    <a:lnTo>
                      <a:pt x="246" y="36"/>
                    </a:lnTo>
                    <a:lnTo>
                      <a:pt x="252" y="36"/>
                    </a:lnTo>
                    <a:lnTo>
                      <a:pt x="252" y="42"/>
                    </a:lnTo>
                    <a:lnTo>
                      <a:pt x="252" y="48"/>
                    </a:lnTo>
                    <a:lnTo>
                      <a:pt x="258" y="48"/>
                    </a:lnTo>
                    <a:lnTo>
                      <a:pt x="258" y="54"/>
                    </a:lnTo>
                    <a:lnTo>
                      <a:pt x="258" y="60"/>
                    </a:lnTo>
                    <a:lnTo>
                      <a:pt x="258" y="66"/>
                    </a:lnTo>
                    <a:lnTo>
                      <a:pt x="258" y="72"/>
                    </a:lnTo>
                    <a:lnTo>
                      <a:pt x="264" y="72"/>
                    </a:lnTo>
                    <a:lnTo>
                      <a:pt x="264" y="78"/>
                    </a:lnTo>
                    <a:lnTo>
                      <a:pt x="270" y="78"/>
                    </a:lnTo>
                    <a:lnTo>
                      <a:pt x="270" y="84"/>
                    </a:lnTo>
                    <a:lnTo>
                      <a:pt x="270" y="90"/>
                    </a:lnTo>
                    <a:lnTo>
                      <a:pt x="276" y="90"/>
                    </a:lnTo>
                    <a:lnTo>
                      <a:pt x="276" y="96"/>
                    </a:lnTo>
                    <a:lnTo>
                      <a:pt x="282" y="96"/>
                    </a:lnTo>
                    <a:lnTo>
                      <a:pt x="282" y="102"/>
                    </a:lnTo>
                    <a:lnTo>
                      <a:pt x="282" y="108"/>
                    </a:lnTo>
                    <a:lnTo>
                      <a:pt x="288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300" y="114"/>
                    </a:lnTo>
                    <a:lnTo>
                      <a:pt x="306" y="108"/>
                    </a:lnTo>
                    <a:lnTo>
                      <a:pt x="306" y="114"/>
                    </a:lnTo>
                    <a:lnTo>
                      <a:pt x="312" y="114"/>
                    </a:lnTo>
                    <a:lnTo>
                      <a:pt x="312" y="108"/>
                    </a:lnTo>
                    <a:lnTo>
                      <a:pt x="318" y="108"/>
                    </a:lnTo>
                    <a:lnTo>
                      <a:pt x="324" y="108"/>
                    </a:lnTo>
                    <a:lnTo>
                      <a:pt x="330" y="108"/>
                    </a:lnTo>
                    <a:lnTo>
                      <a:pt x="336" y="108"/>
                    </a:lnTo>
                    <a:lnTo>
                      <a:pt x="336" y="102"/>
                    </a:lnTo>
                    <a:lnTo>
                      <a:pt x="348" y="102"/>
                    </a:lnTo>
                    <a:lnTo>
                      <a:pt x="348" y="108"/>
                    </a:lnTo>
                    <a:lnTo>
                      <a:pt x="378" y="108"/>
                    </a:lnTo>
                    <a:lnTo>
                      <a:pt x="378" y="102"/>
                    </a:lnTo>
                    <a:lnTo>
                      <a:pt x="378" y="96"/>
                    </a:lnTo>
                    <a:lnTo>
                      <a:pt x="378" y="90"/>
                    </a:lnTo>
                    <a:lnTo>
                      <a:pt x="378" y="84"/>
                    </a:lnTo>
                    <a:lnTo>
                      <a:pt x="384" y="84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84" y="66"/>
                    </a:lnTo>
                    <a:lnTo>
                      <a:pt x="384" y="60"/>
                    </a:lnTo>
                    <a:lnTo>
                      <a:pt x="390" y="60"/>
                    </a:lnTo>
                    <a:lnTo>
                      <a:pt x="384" y="60"/>
                    </a:lnTo>
                    <a:lnTo>
                      <a:pt x="426" y="60"/>
                    </a:lnTo>
                    <a:lnTo>
                      <a:pt x="426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8" y="66"/>
                    </a:lnTo>
                    <a:lnTo>
                      <a:pt x="438" y="72"/>
                    </a:lnTo>
                    <a:lnTo>
                      <a:pt x="456" y="72"/>
                    </a:lnTo>
                    <a:lnTo>
                      <a:pt x="498" y="72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84"/>
                    </a:lnTo>
                    <a:lnTo>
                      <a:pt x="504" y="84"/>
                    </a:lnTo>
                    <a:lnTo>
                      <a:pt x="498" y="84"/>
                    </a:lnTo>
                    <a:lnTo>
                      <a:pt x="498" y="90"/>
                    </a:lnTo>
                    <a:lnTo>
                      <a:pt x="498" y="96"/>
                    </a:lnTo>
                    <a:lnTo>
                      <a:pt x="498" y="102"/>
                    </a:lnTo>
                    <a:lnTo>
                      <a:pt x="498" y="108"/>
                    </a:lnTo>
                    <a:lnTo>
                      <a:pt x="504" y="114"/>
                    </a:lnTo>
                    <a:lnTo>
                      <a:pt x="504" y="120"/>
                    </a:lnTo>
                    <a:lnTo>
                      <a:pt x="504" y="126"/>
                    </a:lnTo>
                    <a:lnTo>
                      <a:pt x="504" y="132"/>
                    </a:lnTo>
                    <a:lnTo>
                      <a:pt x="504" y="138"/>
                    </a:lnTo>
                    <a:lnTo>
                      <a:pt x="504" y="144"/>
                    </a:lnTo>
                    <a:lnTo>
                      <a:pt x="504" y="150"/>
                    </a:lnTo>
                    <a:lnTo>
                      <a:pt x="504" y="156"/>
                    </a:lnTo>
                    <a:lnTo>
                      <a:pt x="504" y="162"/>
                    </a:lnTo>
                    <a:lnTo>
                      <a:pt x="498" y="162"/>
                    </a:lnTo>
                    <a:lnTo>
                      <a:pt x="504" y="168"/>
                    </a:lnTo>
                    <a:lnTo>
                      <a:pt x="498" y="168"/>
                    </a:lnTo>
                    <a:lnTo>
                      <a:pt x="498" y="174"/>
                    </a:lnTo>
                    <a:lnTo>
                      <a:pt x="498" y="180"/>
                    </a:lnTo>
                    <a:lnTo>
                      <a:pt x="498" y="186"/>
                    </a:lnTo>
                    <a:lnTo>
                      <a:pt x="504" y="186"/>
                    </a:lnTo>
                    <a:lnTo>
                      <a:pt x="504" y="192"/>
                    </a:lnTo>
                    <a:lnTo>
                      <a:pt x="510" y="192"/>
                    </a:lnTo>
                    <a:lnTo>
                      <a:pt x="510" y="198"/>
                    </a:lnTo>
                    <a:lnTo>
                      <a:pt x="516" y="198"/>
                    </a:lnTo>
                    <a:lnTo>
                      <a:pt x="516" y="204"/>
                    </a:lnTo>
                    <a:lnTo>
                      <a:pt x="522" y="210"/>
                    </a:lnTo>
                    <a:lnTo>
                      <a:pt x="522" y="216"/>
                    </a:lnTo>
                    <a:lnTo>
                      <a:pt x="522" y="222"/>
                    </a:lnTo>
                    <a:lnTo>
                      <a:pt x="522" y="228"/>
                    </a:lnTo>
                    <a:lnTo>
                      <a:pt x="522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28" y="246"/>
                    </a:lnTo>
                    <a:lnTo>
                      <a:pt x="522" y="246"/>
                    </a:lnTo>
                    <a:lnTo>
                      <a:pt x="516" y="246"/>
                    </a:lnTo>
                    <a:lnTo>
                      <a:pt x="516" y="252"/>
                    </a:lnTo>
                    <a:lnTo>
                      <a:pt x="516" y="258"/>
                    </a:lnTo>
                    <a:lnTo>
                      <a:pt x="522" y="258"/>
                    </a:lnTo>
                    <a:lnTo>
                      <a:pt x="522" y="264"/>
                    </a:lnTo>
                    <a:lnTo>
                      <a:pt x="522" y="270"/>
                    </a:lnTo>
                    <a:lnTo>
                      <a:pt x="528" y="264"/>
                    </a:lnTo>
                    <a:lnTo>
                      <a:pt x="534" y="264"/>
                    </a:lnTo>
                    <a:lnTo>
                      <a:pt x="534" y="258"/>
                    </a:lnTo>
                    <a:lnTo>
                      <a:pt x="540" y="258"/>
                    </a:lnTo>
                    <a:lnTo>
                      <a:pt x="546" y="264"/>
                    </a:lnTo>
                    <a:lnTo>
                      <a:pt x="546" y="258"/>
                    </a:lnTo>
                    <a:lnTo>
                      <a:pt x="552" y="258"/>
                    </a:lnTo>
                    <a:lnTo>
                      <a:pt x="558" y="258"/>
                    </a:lnTo>
                    <a:lnTo>
                      <a:pt x="558" y="264"/>
                    </a:lnTo>
                    <a:lnTo>
                      <a:pt x="564" y="264"/>
                    </a:lnTo>
                    <a:lnTo>
                      <a:pt x="564" y="258"/>
                    </a:lnTo>
                    <a:lnTo>
                      <a:pt x="570" y="258"/>
                    </a:lnTo>
                    <a:lnTo>
                      <a:pt x="576" y="258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88" y="252"/>
                    </a:lnTo>
                    <a:lnTo>
                      <a:pt x="588" y="258"/>
                    </a:lnTo>
                    <a:lnTo>
                      <a:pt x="594" y="258"/>
                    </a:lnTo>
                    <a:lnTo>
                      <a:pt x="600" y="258"/>
                    </a:lnTo>
                    <a:lnTo>
                      <a:pt x="606" y="252"/>
                    </a:lnTo>
                    <a:lnTo>
                      <a:pt x="612" y="252"/>
                    </a:lnTo>
                    <a:lnTo>
                      <a:pt x="606" y="258"/>
                    </a:lnTo>
                    <a:lnTo>
                      <a:pt x="606" y="264"/>
                    </a:lnTo>
                    <a:lnTo>
                      <a:pt x="612" y="264"/>
                    </a:lnTo>
                    <a:lnTo>
                      <a:pt x="612" y="270"/>
                    </a:lnTo>
                    <a:lnTo>
                      <a:pt x="612" y="276"/>
                    </a:lnTo>
                    <a:lnTo>
                      <a:pt x="612" y="282"/>
                    </a:lnTo>
                    <a:lnTo>
                      <a:pt x="606" y="282"/>
                    </a:lnTo>
                    <a:lnTo>
                      <a:pt x="606" y="288"/>
                    </a:lnTo>
                    <a:lnTo>
                      <a:pt x="606" y="294"/>
                    </a:lnTo>
                    <a:lnTo>
                      <a:pt x="612" y="294"/>
                    </a:lnTo>
                    <a:lnTo>
                      <a:pt x="606" y="300"/>
                    </a:lnTo>
                    <a:lnTo>
                      <a:pt x="606" y="306"/>
                    </a:lnTo>
                    <a:lnTo>
                      <a:pt x="606" y="312"/>
                    </a:lnTo>
                    <a:lnTo>
                      <a:pt x="606" y="318"/>
                    </a:lnTo>
                    <a:lnTo>
                      <a:pt x="612" y="318"/>
                    </a:lnTo>
                    <a:lnTo>
                      <a:pt x="612" y="324"/>
                    </a:lnTo>
                    <a:lnTo>
                      <a:pt x="612" y="330"/>
                    </a:lnTo>
                    <a:lnTo>
                      <a:pt x="606" y="330"/>
                    </a:lnTo>
                    <a:lnTo>
                      <a:pt x="606" y="336"/>
                    </a:lnTo>
                    <a:lnTo>
                      <a:pt x="606" y="342"/>
                    </a:lnTo>
                    <a:lnTo>
                      <a:pt x="606" y="348"/>
                    </a:lnTo>
                    <a:lnTo>
                      <a:pt x="612" y="354"/>
                    </a:lnTo>
                    <a:lnTo>
                      <a:pt x="510" y="354"/>
                    </a:lnTo>
                    <a:lnTo>
                      <a:pt x="510" y="516"/>
                    </a:lnTo>
                    <a:lnTo>
                      <a:pt x="516" y="522"/>
                    </a:lnTo>
                    <a:lnTo>
                      <a:pt x="516" y="528"/>
                    </a:lnTo>
                    <a:lnTo>
                      <a:pt x="516" y="534"/>
                    </a:lnTo>
                    <a:lnTo>
                      <a:pt x="522" y="534"/>
                    </a:lnTo>
                    <a:lnTo>
                      <a:pt x="528" y="540"/>
                    </a:lnTo>
                    <a:lnTo>
                      <a:pt x="534" y="546"/>
                    </a:lnTo>
                    <a:lnTo>
                      <a:pt x="540" y="552"/>
                    </a:lnTo>
                    <a:lnTo>
                      <a:pt x="540" y="558"/>
                    </a:lnTo>
                    <a:lnTo>
                      <a:pt x="546" y="558"/>
                    </a:lnTo>
                    <a:lnTo>
                      <a:pt x="546" y="564"/>
                    </a:lnTo>
                    <a:lnTo>
                      <a:pt x="552" y="564"/>
                    </a:lnTo>
                    <a:lnTo>
                      <a:pt x="558" y="570"/>
                    </a:lnTo>
                    <a:lnTo>
                      <a:pt x="564" y="570"/>
                    </a:lnTo>
                    <a:lnTo>
                      <a:pt x="564" y="576"/>
                    </a:lnTo>
                    <a:lnTo>
                      <a:pt x="570" y="576"/>
                    </a:lnTo>
                    <a:lnTo>
                      <a:pt x="570" y="582"/>
                    </a:lnTo>
                    <a:lnTo>
                      <a:pt x="576" y="582"/>
                    </a:lnTo>
                    <a:lnTo>
                      <a:pt x="582" y="582"/>
                    </a:lnTo>
                    <a:lnTo>
                      <a:pt x="582" y="588"/>
                    </a:lnTo>
                    <a:lnTo>
                      <a:pt x="552" y="588"/>
                    </a:lnTo>
                    <a:lnTo>
                      <a:pt x="480" y="606"/>
                    </a:lnTo>
                    <a:lnTo>
                      <a:pt x="474" y="600"/>
                    </a:lnTo>
                    <a:lnTo>
                      <a:pt x="468" y="600"/>
                    </a:lnTo>
                    <a:lnTo>
                      <a:pt x="462" y="600"/>
                    </a:lnTo>
                    <a:lnTo>
                      <a:pt x="456" y="600"/>
                    </a:lnTo>
                    <a:lnTo>
                      <a:pt x="456" y="606"/>
                    </a:lnTo>
                    <a:lnTo>
                      <a:pt x="450" y="606"/>
                    </a:lnTo>
                    <a:lnTo>
                      <a:pt x="444" y="606"/>
                    </a:lnTo>
                    <a:lnTo>
                      <a:pt x="444" y="600"/>
                    </a:lnTo>
                    <a:lnTo>
                      <a:pt x="438" y="600"/>
                    </a:lnTo>
                    <a:lnTo>
                      <a:pt x="432" y="600"/>
                    </a:lnTo>
                    <a:lnTo>
                      <a:pt x="426" y="600"/>
                    </a:lnTo>
                    <a:lnTo>
                      <a:pt x="426" y="594"/>
                    </a:lnTo>
                    <a:lnTo>
                      <a:pt x="426" y="600"/>
                    </a:lnTo>
                    <a:lnTo>
                      <a:pt x="420" y="600"/>
                    </a:lnTo>
                    <a:lnTo>
                      <a:pt x="414" y="600"/>
                    </a:lnTo>
                    <a:lnTo>
                      <a:pt x="408" y="600"/>
                    </a:lnTo>
                    <a:lnTo>
                      <a:pt x="402" y="594"/>
                    </a:lnTo>
                    <a:lnTo>
                      <a:pt x="402" y="600"/>
                    </a:lnTo>
                    <a:lnTo>
                      <a:pt x="396" y="600"/>
                    </a:lnTo>
                    <a:lnTo>
                      <a:pt x="396" y="594"/>
                    </a:lnTo>
                    <a:lnTo>
                      <a:pt x="390" y="594"/>
                    </a:lnTo>
                    <a:lnTo>
                      <a:pt x="390" y="600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78" y="600"/>
                    </a:lnTo>
                    <a:lnTo>
                      <a:pt x="378" y="594"/>
                    </a:lnTo>
                    <a:lnTo>
                      <a:pt x="372" y="594"/>
                    </a:lnTo>
                    <a:lnTo>
                      <a:pt x="366" y="594"/>
                    </a:lnTo>
                    <a:lnTo>
                      <a:pt x="360" y="594"/>
                    </a:lnTo>
                    <a:lnTo>
                      <a:pt x="354" y="594"/>
                    </a:lnTo>
                    <a:lnTo>
                      <a:pt x="348" y="594"/>
                    </a:lnTo>
                    <a:lnTo>
                      <a:pt x="348" y="588"/>
                    </a:lnTo>
                    <a:lnTo>
                      <a:pt x="342" y="588"/>
                    </a:lnTo>
                    <a:lnTo>
                      <a:pt x="342" y="582"/>
                    </a:lnTo>
                    <a:lnTo>
                      <a:pt x="336" y="582"/>
                    </a:lnTo>
                    <a:lnTo>
                      <a:pt x="336" y="576"/>
                    </a:lnTo>
                    <a:lnTo>
                      <a:pt x="330" y="576"/>
                    </a:lnTo>
                    <a:lnTo>
                      <a:pt x="264" y="576"/>
                    </a:lnTo>
                    <a:lnTo>
                      <a:pt x="258" y="576"/>
                    </a:lnTo>
                    <a:lnTo>
                      <a:pt x="144" y="576"/>
                    </a:lnTo>
                    <a:lnTo>
                      <a:pt x="120" y="570"/>
                    </a:lnTo>
                    <a:lnTo>
                      <a:pt x="120" y="576"/>
                    </a:lnTo>
                    <a:lnTo>
                      <a:pt x="114" y="576"/>
                    </a:lnTo>
                    <a:lnTo>
                      <a:pt x="108" y="576"/>
                    </a:lnTo>
                    <a:lnTo>
                      <a:pt x="108" y="570"/>
                    </a:lnTo>
                    <a:lnTo>
                      <a:pt x="102" y="570"/>
                    </a:lnTo>
                    <a:lnTo>
                      <a:pt x="96" y="570"/>
                    </a:lnTo>
                    <a:lnTo>
                      <a:pt x="96" y="564"/>
                    </a:lnTo>
                    <a:lnTo>
                      <a:pt x="90" y="564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84" y="552"/>
                    </a:lnTo>
                    <a:lnTo>
                      <a:pt x="78" y="552"/>
                    </a:lnTo>
                    <a:lnTo>
                      <a:pt x="72" y="552"/>
                    </a:lnTo>
                    <a:lnTo>
                      <a:pt x="66" y="552"/>
                    </a:lnTo>
                    <a:lnTo>
                      <a:pt x="60" y="552"/>
                    </a:lnTo>
                    <a:lnTo>
                      <a:pt x="54" y="558"/>
                    </a:lnTo>
                    <a:lnTo>
                      <a:pt x="48" y="558"/>
                    </a:lnTo>
                    <a:lnTo>
                      <a:pt x="48" y="564"/>
                    </a:lnTo>
                    <a:lnTo>
                      <a:pt x="42" y="564"/>
                    </a:lnTo>
                    <a:lnTo>
                      <a:pt x="36" y="564"/>
                    </a:lnTo>
                    <a:lnTo>
                      <a:pt x="36" y="570"/>
                    </a:lnTo>
                    <a:lnTo>
                      <a:pt x="36" y="564"/>
                    </a:lnTo>
                    <a:lnTo>
                      <a:pt x="30" y="564"/>
                    </a:lnTo>
                    <a:lnTo>
                      <a:pt x="24" y="564"/>
                    </a:lnTo>
                    <a:lnTo>
                      <a:pt x="18" y="564"/>
                    </a:lnTo>
                    <a:lnTo>
                      <a:pt x="12" y="564"/>
                    </a:lnTo>
                    <a:lnTo>
                      <a:pt x="6" y="564"/>
                    </a:lnTo>
                    <a:lnTo>
                      <a:pt x="0" y="564"/>
                    </a:lnTo>
                    <a:lnTo>
                      <a:pt x="0" y="570"/>
                    </a:lnTo>
                    <a:lnTo>
                      <a:pt x="0" y="564"/>
                    </a:lnTo>
                    <a:lnTo>
                      <a:pt x="0" y="552"/>
                    </a:lnTo>
                    <a:lnTo>
                      <a:pt x="0" y="546"/>
                    </a:lnTo>
                    <a:lnTo>
                      <a:pt x="6" y="540"/>
                    </a:lnTo>
                    <a:lnTo>
                      <a:pt x="6" y="534"/>
                    </a:lnTo>
                    <a:lnTo>
                      <a:pt x="6" y="528"/>
                    </a:lnTo>
                    <a:lnTo>
                      <a:pt x="0" y="522"/>
                    </a:lnTo>
                    <a:lnTo>
                      <a:pt x="0" y="510"/>
                    </a:lnTo>
                    <a:lnTo>
                      <a:pt x="0" y="504"/>
                    </a:lnTo>
                    <a:lnTo>
                      <a:pt x="0" y="498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6" y="486"/>
                    </a:lnTo>
                    <a:lnTo>
                      <a:pt x="12" y="486"/>
                    </a:lnTo>
                    <a:lnTo>
                      <a:pt x="12" y="480"/>
                    </a:lnTo>
                    <a:lnTo>
                      <a:pt x="12" y="474"/>
                    </a:lnTo>
                    <a:lnTo>
                      <a:pt x="12" y="468"/>
                    </a:lnTo>
                    <a:lnTo>
                      <a:pt x="18" y="462"/>
                    </a:lnTo>
                    <a:lnTo>
                      <a:pt x="18" y="456"/>
                    </a:lnTo>
                    <a:lnTo>
                      <a:pt x="18" y="450"/>
                    </a:lnTo>
                    <a:lnTo>
                      <a:pt x="24" y="450"/>
                    </a:lnTo>
                    <a:lnTo>
                      <a:pt x="24" y="444"/>
                    </a:lnTo>
                    <a:lnTo>
                      <a:pt x="24" y="438"/>
                    </a:lnTo>
                    <a:lnTo>
                      <a:pt x="24" y="432"/>
                    </a:lnTo>
                    <a:lnTo>
                      <a:pt x="30" y="432"/>
                    </a:lnTo>
                    <a:lnTo>
                      <a:pt x="30" y="426"/>
                    </a:lnTo>
                    <a:lnTo>
                      <a:pt x="30" y="420"/>
                    </a:lnTo>
                    <a:lnTo>
                      <a:pt x="30" y="414"/>
                    </a:lnTo>
                    <a:lnTo>
                      <a:pt x="30" y="408"/>
                    </a:lnTo>
                    <a:lnTo>
                      <a:pt x="30" y="402"/>
                    </a:lnTo>
                    <a:lnTo>
                      <a:pt x="36" y="402"/>
                    </a:lnTo>
                    <a:lnTo>
                      <a:pt x="30" y="402"/>
                    </a:lnTo>
                    <a:lnTo>
                      <a:pt x="30" y="396"/>
                    </a:lnTo>
                    <a:lnTo>
                      <a:pt x="36" y="396"/>
                    </a:lnTo>
                    <a:lnTo>
                      <a:pt x="36" y="390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78"/>
                    </a:lnTo>
                    <a:lnTo>
                      <a:pt x="42" y="378"/>
                    </a:lnTo>
                    <a:lnTo>
                      <a:pt x="36" y="378"/>
                    </a:lnTo>
                    <a:lnTo>
                      <a:pt x="42" y="372"/>
                    </a:lnTo>
                    <a:lnTo>
                      <a:pt x="42" y="378"/>
                    </a:lnTo>
                    <a:lnTo>
                      <a:pt x="42" y="372"/>
                    </a:lnTo>
                    <a:lnTo>
                      <a:pt x="42" y="366"/>
                    </a:lnTo>
                    <a:lnTo>
                      <a:pt x="48" y="366"/>
                    </a:lnTo>
                    <a:lnTo>
                      <a:pt x="54" y="360"/>
                    </a:lnTo>
                    <a:lnTo>
                      <a:pt x="60" y="354"/>
                    </a:lnTo>
                    <a:lnTo>
                      <a:pt x="60" y="348"/>
                    </a:lnTo>
                    <a:lnTo>
                      <a:pt x="60" y="342"/>
                    </a:lnTo>
                    <a:lnTo>
                      <a:pt x="66" y="342"/>
                    </a:lnTo>
                    <a:lnTo>
                      <a:pt x="66" y="336"/>
                    </a:lnTo>
                    <a:lnTo>
                      <a:pt x="72" y="336"/>
                    </a:lnTo>
                    <a:lnTo>
                      <a:pt x="78" y="336"/>
                    </a:lnTo>
                    <a:lnTo>
                      <a:pt x="84" y="336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6" y="318"/>
                    </a:lnTo>
                    <a:lnTo>
                      <a:pt x="96" y="312"/>
                    </a:lnTo>
                    <a:lnTo>
                      <a:pt x="96" y="306"/>
                    </a:lnTo>
                    <a:lnTo>
                      <a:pt x="102" y="306"/>
                    </a:lnTo>
                    <a:lnTo>
                      <a:pt x="102" y="300"/>
                    </a:lnTo>
                    <a:lnTo>
                      <a:pt x="102" y="294"/>
                    </a:lnTo>
                    <a:lnTo>
                      <a:pt x="102" y="288"/>
                    </a:lnTo>
                    <a:lnTo>
                      <a:pt x="102" y="282"/>
                    </a:lnTo>
                    <a:lnTo>
                      <a:pt x="102" y="276"/>
                    </a:lnTo>
                    <a:lnTo>
                      <a:pt x="102" y="270"/>
                    </a:lnTo>
                    <a:lnTo>
                      <a:pt x="102" y="264"/>
                    </a:lnTo>
                    <a:lnTo>
                      <a:pt x="102" y="258"/>
                    </a:lnTo>
                    <a:lnTo>
                      <a:pt x="102" y="252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6" y="240"/>
                    </a:lnTo>
                    <a:lnTo>
                      <a:pt x="102" y="240"/>
                    </a:lnTo>
                    <a:lnTo>
                      <a:pt x="96" y="234"/>
                    </a:lnTo>
                    <a:lnTo>
                      <a:pt x="90" y="228"/>
                    </a:lnTo>
                    <a:lnTo>
                      <a:pt x="90" y="222"/>
                    </a:lnTo>
                    <a:lnTo>
                      <a:pt x="84" y="216"/>
                    </a:lnTo>
                    <a:lnTo>
                      <a:pt x="90" y="222"/>
                    </a:lnTo>
                    <a:lnTo>
                      <a:pt x="90" y="216"/>
                    </a:lnTo>
                    <a:lnTo>
                      <a:pt x="84" y="216"/>
                    </a:lnTo>
                    <a:lnTo>
                      <a:pt x="84" y="210"/>
                    </a:lnTo>
                    <a:lnTo>
                      <a:pt x="78" y="210"/>
                    </a:lnTo>
                    <a:lnTo>
                      <a:pt x="78" y="204"/>
                    </a:lnTo>
                    <a:lnTo>
                      <a:pt x="78" y="198"/>
                    </a:lnTo>
                    <a:lnTo>
                      <a:pt x="72" y="198"/>
                    </a:lnTo>
                    <a:lnTo>
                      <a:pt x="72" y="192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72" y="174"/>
                    </a:lnTo>
                    <a:lnTo>
                      <a:pt x="66" y="174"/>
                    </a:lnTo>
                    <a:lnTo>
                      <a:pt x="66" y="168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6" y="150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0" y="162"/>
                    </a:lnTo>
                    <a:lnTo>
                      <a:pt x="66" y="156"/>
                    </a:lnTo>
                    <a:lnTo>
                      <a:pt x="72" y="156"/>
                    </a:lnTo>
                    <a:lnTo>
                      <a:pt x="72" y="150"/>
                    </a:lnTo>
                    <a:lnTo>
                      <a:pt x="72" y="144"/>
                    </a:lnTo>
                    <a:lnTo>
                      <a:pt x="78" y="144"/>
                    </a:lnTo>
                    <a:lnTo>
                      <a:pt x="84" y="144"/>
                    </a:lnTo>
                    <a:lnTo>
                      <a:pt x="84" y="138"/>
                    </a:lnTo>
                    <a:lnTo>
                      <a:pt x="78" y="138"/>
                    </a:lnTo>
                    <a:lnTo>
                      <a:pt x="78" y="132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78" y="120"/>
                    </a:lnTo>
                    <a:lnTo>
                      <a:pt x="78" y="114"/>
                    </a:lnTo>
                    <a:lnTo>
                      <a:pt x="72" y="114"/>
                    </a:lnTo>
                    <a:lnTo>
                      <a:pt x="72" y="108"/>
                    </a:lnTo>
                    <a:lnTo>
                      <a:pt x="72" y="102"/>
                    </a:lnTo>
                    <a:lnTo>
                      <a:pt x="66" y="102"/>
                    </a:lnTo>
                    <a:lnTo>
                      <a:pt x="66" y="96"/>
                    </a:lnTo>
                    <a:lnTo>
                      <a:pt x="66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55" name="Freeform 60"/>
              <p:cNvSpPr>
                <a:spLocks noChangeAspect="1"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2565" y="2549"/>
                <a:ext cx="46" cy="57"/>
              </a:xfrm>
              <a:custGeom>
                <a:avLst/>
                <a:gdLst>
                  <a:gd name="T0" fmla="*/ 0 w 54"/>
                  <a:gd name="T1" fmla="*/ 12 h 66"/>
                  <a:gd name="T2" fmla="*/ 3 w 54"/>
                  <a:gd name="T3" fmla="*/ 10 h 66"/>
                  <a:gd name="T4" fmla="*/ 5 w 54"/>
                  <a:gd name="T5" fmla="*/ 8 h 66"/>
                  <a:gd name="T6" fmla="*/ 7 w 54"/>
                  <a:gd name="T7" fmla="*/ 8 h 66"/>
                  <a:gd name="T8" fmla="*/ 7 w 54"/>
                  <a:gd name="T9" fmla="*/ 5 h 66"/>
                  <a:gd name="T10" fmla="*/ 9 w 54"/>
                  <a:gd name="T11" fmla="*/ 5 h 66"/>
                  <a:gd name="T12" fmla="*/ 12 w 54"/>
                  <a:gd name="T13" fmla="*/ 3 h 66"/>
                  <a:gd name="T14" fmla="*/ 14 w 54"/>
                  <a:gd name="T15" fmla="*/ 3 h 66"/>
                  <a:gd name="T16" fmla="*/ 14 w 54"/>
                  <a:gd name="T17" fmla="*/ 0 h 66"/>
                  <a:gd name="T18" fmla="*/ 16 w 54"/>
                  <a:gd name="T19" fmla="*/ 0 h 66"/>
                  <a:gd name="T20" fmla="*/ 16 w 54"/>
                  <a:gd name="T21" fmla="*/ 3 h 66"/>
                  <a:gd name="T22" fmla="*/ 19 w 54"/>
                  <a:gd name="T23" fmla="*/ 3 h 66"/>
                  <a:gd name="T24" fmla="*/ 19 w 54"/>
                  <a:gd name="T25" fmla="*/ 5 h 66"/>
                  <a:gd name="T26" fmla="*/ 20 w 54"/>
                  <a:gd name="T27" fmla="*/ 5 h 66"/>
                  <a:gd name="T28" fmla="*/ 19 w 54"/>
                  <a:gd name="T29" fmla="*/ 5 h 66"/>
                  <a:gd name="T30" fmla="*/ 19 w 54"/>
                  <a:gd name="T31" fmla="*/ 8 h 66"/>
                  <a:gd name="T32" fmla="*/ 16 w 54"/>
                  <a:gd name="T33" fmla="*/ 8 h 66"/>
                  <a:gd name="T34" fmla="*/ 16 w 54"/>
                  <a:gd name="T35" fmla="*/ 10 h 66"/>
                  <a:gd name="T36" fmla="*/ 14 w 54"/>
                  <a:gd name="T37" fmla="*/ 10 h 66"/>
                  <a:gd name="T38" fmla="*/ 14 w 54"/>
                  <a:gd name="T39" fmla="*/ 12 h 66"/>
                  <a:gd name="T40" fmla="*/ 14 w 54"/>
                  <a:gd name="T41" fmla="*/ 10 h 66"/>
                  <a:gd name="T42" fmla="*/ 14 w 54"/>
                  <a:gd name="T43" fmla="*/ 12 h 66"/>
                  <a:gd name="T44" fmla="*/ 12 w 54"/>
                  <a:gd name="T45" fmla="*/ 12 h 66"/>
                  <a:gd name="T46" fmla="*/ 9 w 54"/>
                  <a:gd name="T47" fmla="*/ 12 h 66"/>
                  <a:gd name="T48" fmla="*/ 9 w 54"/>
                  <a:gd name="T49" fmla="*/ 15 h 66"/>
                  <a:gd name="T50" fmla="*/ 9 w 54"/>
                  <a:gd name="T51" fmla="*/ 17 h 66"/>
                  <a:gd name="T52" fmla="*/ 9 w 54"/>
                  <a:gd name="T53" fmla="*/ 27 h 66"/>
                  <a:gd name="T54" fmla="*/ 5 w 54"/>
                  <a:gd name="T55" fmla="*/ 27 h 66"/>
                  <a:gd name="T56" fmla="*/ 3 w 54"/>
                  <a:gd name="T57" fmla="*/ 27 h 66"/>
                  <a:gd name="T58" fmla="*/ 3 w 54"/>
                  <a:gd name="T59" fmla="*/ 25 h 66"/>
                  <a:gd name="T60" fmla="*/ 3 w 54"/>
                  <a:gd name="T61" fmla="*/ 22 h 66"/>
                  <a:gd name="T62" fmla="*/ 5 w 54"/>
                  <a:gd name="T63" fmla="*/ 22 h 66"/>
                  <a:gd name="T64" fmla="*/ 5 w 54"/>
                  <a:gd name="T65" fmla="*/ 19 h 66"/>
                  <a:gd name="T66" fmla="*/ 3 w 54"/>
                  <a:gd name="T67" fmla="*/ 19 h 66"/>
                  <a:gd name="T68" fmla="*/ 3 w 54"/>
                  <a:gd name="T69" fmla="*/ 17 h 66"/>
                  <a:gd name="T70" fmla="*/ 3 w 54"/>
                  <a:gd name="T71" fmla="*/ 15 h 66"/>
                  <a:gd name="T72" fmla="*/ 0 w 54"/>
                  <a:gd name="T73" fmla="*/ 12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54" h="66">
                    <a:moveTo>
                      <a:pt x="0" y="30"/>
                    </a:moveTo>
                    <a:lnTo>
                      <a:pt x="6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24" y="66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</p:grpSp>
        <p:sp>
          <p:nvSpPr>
            <p:cNvPr id="14382" name="Freeform 6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4443" y="2061"/>
              <a:ext cx="359" cy="315"/>
            </a:xfrm>
            <a:custGeom>
              <a:avLst/>
              <a:gdLst>
                <a:gd name="T0" fmla="*/ 6 w 582"/>
                <a:gd name="T1" fmla="*/ 10 h 486"/>
                <a:gd name="T2" fmla="*/ 7 w 582"/>
                <a:gd name="T3" fmla="*/ 12 h 486"/>
                <a:gd name="T4" fmla="*/ 9 w 582"/>
                <a:gd name="T5" fmla="*/ 10 h 486"/>
                <a:gd name="T6" fmla="*/ 9 w 582"/>
                <a:gd name="T7" fmla="*/ 12 h 486"/>
                <a:gd name="T8" fmla="*/ 12 w 582"/>
                <a:gd name="T9" fmla="*/ 14 h 486"/>
                <a:gd name="T10" fmla="*/ 13 w 582"/>
                <a:gd name="T11" fmla="*/ 14 h 486"/>
                <a:gd name="T12" fmla="*/ 14 w 582"/>
                <a:gd name="T13" fmla="*/ 12 h 486"/>
                <a:gd name="T14" fmla="*/ 15 w 582"/>
                <a:gd name="T15" fmla="*/ 14 h 486"/>
                <a:gd name="T16" fmla="*/ 17 w 582"/>
                <a:gd name="T17" fmla="*/ 16 h 486"/>
                <a:gd name="T18" fmla="*/ 17 w 582"/>
                <a:gd name="T19" fmla="*/ 16 h 486"/>
                <a:gd name="T20" fmla="*/ 19 w 582"/>
                <a:gd name="T21" fmla="*/ 18 h 486"/>
                <a:gd name="T22" fmla="*/ 20 w 582"/>
                <a:gd name="T23" fmla="*/ 19 h 486"/>
                <a:gd name="T24" fmla="*/ 22 w 582"/>
                <a:gd name="T25" fmla="*/ 19 h 486"/>
                <a:gd name="T26" fmla="*/ 20 w 582"/>
                <a:gd name="T27" fmla="*/ 15 h 486"/>
                <a:gd name="T28" fmla="*/ 19 w 582"/>
                <a:gd name="T29" fmla="*/ 14 h 486"/>
                <a:gd name="T30" fmla="*/ 17 w 582"/>
                <a:gd name="T31" fmla="*/ 12 h 486"/>
                <a:gd name="T32" fmla="*/ 17 w 582"/>
                <a:gd name="T33" fmla="*/ 10 h 486"/>
                <a:gd name="T34" fmla="*/ 19 w 582"/>
                <a:gd name="T35" fmla="*/ 8 h 486"/>
                <a:gd name="T36" fmla="*/ 19 w 582"/>
                <a:gd name="T37" fmla="*/ 6 h 486"/>
                <a:gd name="T38" fmla="*/ 18 w 582"/>
                <a:gd name="T39" fmla="*/ 5 h 486"/>
                <a:gd name="T40" fmla="*/ 17 w 582"/>
                <a:gd name="T41" fmla="*/ 3 h 486"/>
                <a:gd name="T42" fmla="*/ 19 w 582"/>
                <a:gd name="T43" fmla="*/ 1 h 486"/>
                <a:gd name="T44" fmla="*/ 23 w 582"/>
                <a:gd name="T45" fmla="*/ 0 h 486"/>
                <a:gd name="T46" fmla="*/ 26 w 582"/>
                <a:gd name="T47" fmla="*/ 1 h 486"/>
                <a:gd name="T48" fmla="*/ 27 w 582"/>
                <a:gd name="T49" fmla="*/ 3 h 486"/>
                <a:gd name="T50" fmla="*/ 29 w 582"/>
                <a:gd name="T51" fmla="*/ 3 h 486"/>
                <a:gd name="T52" fmla="*/ 30 w 582"/>
                <a:gd name="T53" fmla="*/ 5 h 486"/>
                <a:gd name="T54" fmla="*/ 31 w 582"/>
                <a:gd name="T55" fmla="*/ 6 h 486"/>
                <a:gd name="T56" fmla="*/ 31 w 582"/>
                <a:gd name="T57" fmla="*/ 8 h 486"/>
                <a:gd name="T58" fmla="*/ 31 w 582"/>
                <a:gd name="T59" fmla="*/ 10 h 486"/>
                <a:gd name="T60" fmla="*/ 31 w 582"/>
                <a:gd name="T61" fmla="*/ 12 h 486"/>
                <a:gd name="T62" fmla="*/ 31 w 582"/>
                <a:gd name="T63" fmla="*/ 14 h 486"/>
                <a:gd name="T64" fmla="*/ 31 w 582"/>
                <a:gd name="T65" fmla="*/ 16 h 486"/>
                <a:gd name="T66" fmla="*/ 30 w 582"/>
                <a:gd name="T67" fmla="*/ 17 h 486"/>
                <a:gd name="T68" fmla="*/ 30 w 582"/>
                <a:gd name="T69" fmla="*/ 19 h 486"/>
                <a:gd name="T70" fmla="*/ 30 w 582"/>
                <a:gd name="T71" fmla="*/ 19 h 486"/>
                <a:gd name="T72" fmla="*/ 30 w 582"/>
                <a:gd name="T73" fmla="*/ 21 h 486"/>
                <a:gd name="T74" fmla="*/ 27 w 582"/>
                <a:gd name="T75" fmla="*/ 23 h 486"/>
                <a:gd name="T76" fmla="*/ 23 w 582"/>
                <a:gd name="T77" fmla="*/ 24 h 486"/>
                <a:gd name="T78" fmla="*/ 23 w 582"/>
                <a:gd name="T79" fmla="*/ 26 h 486"/>
                <a:gd name="T80" fmla="*/ 22 w 582"/>
                <a:gd name="T81" fmla="*/ 27 h 486"/>
                <a:gd name="T82" fmla="*/ 19 w 582"/>
                <a:gd name="T83" fmla="*/ 28 h 486"/>
                <a:gd name="T84" fmla="*/ 19 w 582"/>
                <a:gd name="T85" fmla="*/ 29 h 486"/>
                <a:gd name="T86" fmla="*/ 19 w 582"/>
                <a:gd name="T87" fmla="*/ 30 h 486"/>
                <a:gd name="T88" fmla="*/ 14 w 582"/>
                <a:gd name="T89" fmla="*/ 34 h 486"/>
                <a:gd name="T90" fmla="*/ 14 w 582"/>
                <a:gd name="T91" fmla="*/ 36 h 486"/>
                <a:gd name="T92" fmla="*/ 12 w 582"/>
                <a:gd name="T93" fmla="*/ 36 h 486"/>
                <a:gd name="T94" fmla="*/ 10 w 582"/>
                <a:gd name="T95" fmla="*/ 35 h 486"/>
                <a:gd name="T96" fmla="*/ 9 w 582"/>
                <a:gd name="T97" fmla="*/ 35 h 486"/>
                <a:gd name="T98" fmla="*/ 7 w 582"/>
                <a:gd name="T99" fmla="*/ 34 h 486"/>
                <a:gd name="T100" fmla="*/ 4 w 582"/>
                <a:gd name="T101" fmla="*/ 34 h 486"/>
                <a:gd name="T102" fmla="*/ 2 w 582"/>
                <a:gd name="T103" fmla="*/ 34 h 486"/>
                <a:gd name="T104" fmla="*/ 1 w 582"/>
                <a:gd name="T105" fmla="*/ 31 h 486"/>
                <a:gd name="T106" fmla="*/ 6 w 582"/>
                <a:gd name="T107" fmla="*/ 18 h 486"/>
                <a:gd name="T108" fmla="*/ 6 w 582"/>
                <a:gd name="T109" fmla="*/ 15 h 486"/>
                <a:gd name="T110" fmla="*/ 6 w 582"/>
                <a:gd name="T111" fmla="*/ 12 h 486"/>
                <a:gd name="T112" fmla="*/ 6 w 582"/>
                <a:gd name="T113" fmla="*/ 10 h 4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582" h="486">
                  <a:moveTo>
                    <a:pt x="96" y="132"/>
                  </a:moveTo>
                  <a:lnTo>
                    <a:pt x="102" y="132"/>
                  </a:lnTo>
                  <a:lnTo>
                    <a:pt x="108" y="132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6"/>
                  </a:lnTo>
                  <a:lnTo>
                    <a:pt x="132" y="150"/>
                  </a:lnTo>
                  <a:lnTo>
                    <a:pt x="138" y="150"/>
                  </a:lnTo>
                  <a:lnTo>
                    <a:pt x="144" y="150"/>
                  </a:lnTo>
                  <a:lnTo>
                    <a:pt x="150" y="150"/>
                  </a:lnTo>
                  <a:lnTo>
                    <a:pt x="156" y="150"/>
                  </a:lnTo>
                  <a:lnTo>
                    <a:pt x="162" y="144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62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80"/>
                  </a:lnTo>
                  <a:lnTo>
                    <a:pt x="210" y="180"/>
                  </a:lnTo>
                  <a:lnTo>
                    <a:pt x="210" y="186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22" y="180"/>
                  </a:lnTo>
                  <a:lnTo>
                    <a:pt x="222" y="186"/>
                  </a:lnTo>
                  <a:lnTo>
                    <a:pt x="228" y="186"/>
                  </a:lnTo>
                  <a:lnTo>
                    <a:pt x="234" y="186"/>
                  </a:lnTo>
                  <a:lnTo>
                    <a:pt x="240" y="186"/>
                  </a:lnTo>
                  <a:lnTo>
                    <a:pt x="246" y="180"/>
                  </a:lnTo>
                  <a:lnTo>
                    <a:pt x="246" y="174"/>
                  </a:lnTo>
                  <a:lnTo>
                    <a:pt x="252" y="168"/>
                  </a:lnTo>
                  <a:lnTo>
                    <a:pt x="246" y="168"/>
                  </a:lnTo>
                  <a:lnTo>
                    <a:pt x="252" y="168"/>
                  </a:lnTo>
                  <a:lnTo>
                    <a:pt x="258" y="162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64" y="174"/>
                  </a:lnTo>
                  <a:lnTo>
                    <a:pt x="264" y="180"/>
                  </a:lnTo>
                  <a:lnTo>
                    <a:pt x="270" y="180"/>
                  </a:lnTo>
                  <a:lnTo>
                    <a:pt x="270" y="186"/>
                  </a:lnTo>
                  <a:lnTo>
                    <a:pt x="270" y="192"/>
                  </a:lnTo>
                  <a:lnTo>
                    <a:pt x="276" y="198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0" y="210"/>
                  </a:lnTo>
                  <a:lnTo>
                    <a:pt x="306" y="204"/>
                  </a:lnTo>
                  <a:lnTo>
                    <a:pt x="312" y="204"/>
                  </a:lnTo>
                  <a:lnTo>
                    <a:pt x="318" y="210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18" y="222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48" y="258"/>
                  </a:lnTo>
                  <a:lnTo>
                    <a:pt x="348" y="252"/>
                  </a:lnTo>
                  <a:lnTo>
                    <a:pt x="354" y="252"/>
                  </a:lnTo>
                  <a:lnTo>
                    <a:pt x="354" y="258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84" y="258"/>
                  </a:lnTo>
                  <a:lnTo>
                    <a:pt x="384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66" y="204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66" y="204"/>
                  </a:lnTo>
                  <a:lnTo>
                    <a:pt x="360" y="204"/>
                  </a:lnTo>
                  <a:lnTo>
                    <a:pt x="354" y="204"/>
                  </a:lnTo>
                  <a:lnTo>
                    <a:pt x="348" y="204"/>
                  </a:lnTo>
                  <a:lnTo>
                    <a:pt x="348" y="198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80"/>
                  </a:lnTo>
                  <a:lnTo>
                    <a:pt x="324" y="180"/>
                  </a:lnTo>
                  <a:lnTo>
                    <a:pt x="318" y="174"/>
                  </a:lnTo>
                  <a:lnTo>
                    <a:pt x="318" y="180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18" y="156"/>
                  </a:lnTo>
                  <a:lnTo>
                    <a:pt x="318" y="150"/>
                  </a:lnTo>
                  <a:lnTo>
                    <a:pt x="318" y="144"/>
                  </a:lnTo>
                  <a:lnTo>
                    <a:pt x="324" y="144"/>
                  </a:lnTo>
                  <a:lnTo>
                    <a:pt x="318" y="144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24" y="132"/>
                  </a:lnTo>
                  <a:lnTo>
                    <a:pt x="324" y="126"/>
                  </a:lnTo>
                  <a:lnTo>
                    <a:pt x="324" y="120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30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30" y="96"/>
                  </a:lnTo>
                  <a:lnTo>
                    <a:pt x="330" y="90"/>
                  </a:lnTo>
                  <a:lnTo>
                    <a:pt x="330" y="84"/>
                  </a:lnTo>
                  <a:lnTo>
                    <a:pt x="330" y="78"/>
                  </a:lnTo>
                  <a:lnTo>
                    <a:pt x="330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24" y="54"/>
                  </a:lnTo>
                  <a:lnTo>
                    <a:pt x="318" y="54"/>
                  </a:lnTo>
                  <a:lnTo>
                    <a:pt x="318" y="60"/>
                  </a:lnTo>
                  <a:lnTo>
                    <a:pt x="318" y="54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6"/>
                  </a:lnTo>
                  <a:lnTo>
                    <a:pt x="342" y="24"/>
                  </a:lnTo>
                  <a:lnTo>
                    <a:pt x="342" y="18"/>
                  </a:lnTo>
                  <a:lnTo>
                    <a:pt x="342" y="12"/>
                  </a:lnTo>
                  <a:lnTo>
                    <a:pt x="378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14" y="0"/>
                  </a:lnTo>
                  <a:lnTo>
                    <a:pt x="426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38" y="6"/>
                  </a:lnTo>
                  <a:lnTo>
                    <a:pt x="444" y="18"/>
                  </a:lnTo>
                  <a:lnTo>
                    <a:pt x="450" y="18"/>
                  </a:lnTo>
                  <a:lnTo>
                    <a:pt x="456" y="18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74" y="30"/>
                  </a:lnTo>
                  <a:lnTo>
                    <a:pt x="480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36"/>
                  </a:lnTo>
                  <a:lnTo>
                    <a:pt x="492" y="42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2" y="48"/>
                  </a:lnTo>
                  <a:lnTo>
                    <a:pt x="528" y="48"/>
                  </a:lnTo>
                  <a:lnTo>
                    <a:pt x="534" y="48"/>
                  </a:lnTo>
                  <a:lnTo>
                    <a:pt x="534" y="54"/>
                  </a:lnTo>
                  <a:lnTo>
                    <a:pt x="540" y="54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6" y="66"/>
                  </a:lnTo>
                  <a:lnTo>
                    <a:pt x="546" y="72"/>
                  </a:lnTo>
                  <a:lnTo>
                    <a:pt x="552" y="72"/>
                  </a:lnTo>
                  <a:lnTo>
                    <a:pt x="552" y="66"/>
                  </a:lnTo>
                  <a:lnTo>
                    <a:pt x="558" y="66"/>
                  </a:lnTo>
                  <a:lnTo>
                    <a:pt x="558" y="72"/>
                  </a:lnTo>
                  <a:lnTo>
                    <a:pt x="558" y="78"/>
                  </a:lnTo>
                  <a:lnTo>
                    <a:pt x="564" y="78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64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6" y="108"/>
                  </a:lnTo>
                  <a:lnTo>
                    <a:pt x="576" y="114"/>
                  </a:lnTo>
                  <a:lnTo>
                    <a:pt x="582" y="114"/>
                  </a:lnTo>
                  <a:lnTo>
                    <a:pt x="576" y="114"/>
                  </a:lnTo>
                  <a:lnTo>
                    <a:pt x="576" y="120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32"/>
                  </a:lnTo>
                  <a:lnTo>
                    <a:pt x="558" y="138"/>
                  </a:lnTo>
                  <a:lnTo>
                    <a:pt x="564" y="138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58" y="150"/>
                  </a:lnTo>
                  <a:lnTo>
                    <a:pt x="558" y="156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74"/>
                  </a:lnTo>
                  <a:lnTo>
                    <a:pt x="564" y="174"/>
                  </a:lnTo>
                  <a:lnTo>
                    <a:pt x="558" y="180"/>
                  </a:lnTo>
                  <a:lnTo>
                    <a:pt x="558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64" y="198"/>
                  </a:lnTo>
                  <a:lnTo>
                    <a:pt x="564" y="204"/>
                  </a:lnTo>
                  <a:lnTo>
                    <a:pt x="570" y="204"/>
                  </a:lnTo>
                  <a:lnTo>
                    <a:pt x="570" y="210"/>
                  </a:lnTo>
                  <a:lnTo>
                    <a:pt x="564" y="210"/>
                  </a:lnTo>
                  <a:lnTo>
                    <a:pt x="558" y="210"/>
                  </a:lnTo>
                  <a:lnTo>
                    <a:pt x="558" y="216"/>
                  </a:lnTo>
                  <a:lnTo>
                    <a:pt x="552" y="216"/>
                  </a:lnTo>
                  <a:lnTo>
                    <a:pt x="546" y="216"/>
                  </a:lnTo>
                  <a:lnTo>
                    <a:pt x="546" y="222"/>
                  </a:lnTo>
                  <a:lnTo>
                    <a:pt x="540" y="222"/>
                  </a:lnTo>
                  <a:lnTo>
                    <a:pt x="540" y="228"/>
                  </a:lnTo>
                  <a:lnTo>
                    <a:pt x="546" y="228"/>
                  </a:lnTo>
                  <a:lnTo>
                    <a:pt x="546" y="234"/>
                  </a:lnTo>
                  <a:lnTo>
                    <a:pt x="546" y="240"/>
                  </a:lnTo>
                  <a:lnTo>
                    <a:pt x="546" y="246"/>
                  </a:lnTo>
                  <a:lnTo>
                    <a:pt x="540" y="246"/>
                  </a:lnTo>
                  <a:lnTo>
                    <a:pt x="540" y="252"/>
                  </a:lnTo>
                  <a:lnTo>
                    <a:pt x="540" y="258"/>
                  </a:lnTo>
                  <a:lnTo>
                    <a:pt x="534" y="264"/>
                  </a:lnTo>
                  <a:lnTo>
                    <a:pt x="528" y="264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40" y="270"/>
                  </a:lnTo>
                  <a:lnTo>
                    <a:pt x="534" y="270"/>
                  </a:lnTo>
                  <a:lnTo>
                    <a:pt x="534" y="276"/>
                  </a:lnTo>
                  <a:lnTo>
                    <a:pt x="540" y="276"/>
                  </a:lnTo>
                  <a:lnTo>
                    <a:pt x="540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52" y="282"/>
                  </a:lnTo>
                  <a:lnTo>
                    <a:pt x="558" y="288"/>
                  </a:lnTo>
                  <a:lnTo>
                    <a:pt x="528" y="294"/>
                  </a:lnTo>
                  <a:lnTo>
                    <a:pt x="516" y="300"/>
                  </a:lnTo>
                  <a:lnTo>
                    <a:pt x="510" y="300"/>
                  </a:lnTo>
                  <a:lnTo>
                    <a:pt x="498" y="306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0" y="312"/>
                  </a:lnTo>
                  <a:lnTo>
                    <a:pt x="468" y="318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38" y="324"/>
                  </a:lnTo>
                  <a:lnTo>
                    <a:pt x="426" y="324"/>
                  </a:lnTo>
                  <a:lnTo>
                    <a:pt x="420" y="330"/>
                  </a:lnTo>
                  <a:lnTo>
                    <a:pt x="414" y="330"/>
                  </a:lnTo>
                  <a:lnTo>
                    <a:pt x="408" y="336"/>
                  </a:lnTo>
                  <a:lnTo>
                    <a:pt x="408" y="342"/>
                  </a:lnTo>
                  <a:lnTo>
                    <a:pt x="408" y="348"/>
                  </a:lnTo>
                  <a:lnTo>
                    <a:pt x="414" y="348"/>
                  </a:lnTo>
                  <a:lnTo>
                    <a:pt x="414" y="354"/>
                  </a:lnTo>
                  <a:lnTo>
                    <a:pt x="414" y="360"/>
                  </a:lnTo>
                  <a:lnTo>
                    <a:pt x="414" y="366"/>
                  </a:lnTo>
                  <a:lnTo>
                    <a:pt x="408" y="366"/>
                  </a:lnTo>
                  <a:lnTo>
                    <a:pt x="402" y="366"/>
                  </a:lnTo>
                  <a:lnTo>
                    <a:pt x="396" y="366"/>
                  </a:lnTo>
                  <a:lnTo>
                    <a:pt x="390" y="366"/>
                  </a:lnTo>
                  <a:lnTo>
                    <a:pt x="384" y="366"/>
                  </a:lnTo>
                  <a:lnTo>
                    <a:pt x="378" y="366"/>
                  </a:lnTo>
                  <a:lnTo>
                    <a:pt x="372" y="366"/>
                  </a:lnTo>
                  <a:lnTo>
                    <a:pt x="366" y="366"/>
                  </a:lnTo>
                  <a:lnTo>
                    <a:pt x="366" y="372"/>
                  </a:lnTo>
                  <a:lnTo>
                    <a:pt x="360" y="372"/>
                  </a:lnTo>
                  <a:lnTo>
                    <a:pt x="354" y="372"/>
                  </a:lnTo>
                  <a:lnTo>
                    <a:pt x="348" y="378"/>
                  </a:lnTo>
                  <a:lnTo>
                    <a:pt x="348" y="384"/>
                  </a:lnTo>
                  <a:lnTo>
                    <a:pt x="342" y="384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36" y="396"/>
                  </a:lnTo>
                  <a:lnTo>
                    <a:pt x="342" y="396"/>
                  </a:lnTo>
                  <a:lnTo>
                    <a:pt x="336" y="396"/>
                  </a:lnTo>
                  <a:lnTo>
                    <a:pt x="336" y="402"/>
                  </a:lnTo>
                  <a:lnTo>
                    <a:pt x="336" y="408"/>
                  </a:lnTo>
                  <a:lnTo>
                    <a:pt x="336" y="414"/>
                  </a:lnTo>
                  <a:lnTo>
                    <a:pt x="330" y="414"/>
                  </a:lnTo>
                  <a:lnTo>
                    <a:pt x="312" y="420"/>
                  </a:lnTo>
                  <a:lnTo>
                    <a:pt x="306" y="426"/>
                  </a:lnTo>
                  <a:lnTo>
                    <a:pt x="288" y="432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76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74"/>
                  </a:lnTo>
                  <a:lnTo>
                    <a:pt x="252" y="480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2" y="486"/>
                  </a:lnTo>
                  <a:lnTo>
                    <a:pt x="222" y="480"/>
                  </a:lnTo>
                  <a:lnTo>
                    <a:pt x="216" y="480"/>
                  </a:lnTo>
                  <a:lnTo>
                    <a:pt x="210" y="480"/>
                  </a:lnTo>
                  <a:lnTo>
                    <a:pt x="204" y="480"/>
                  </a:lnTo>
                  <a:lnTo>
                    <a:pt x="198" y="480"/>
                  </a:lnTo>
                  <a:lnTo>
                    <a:pt x="198" y="486"/>
                  </a:lnTo>
                  <a:lnTo>
                    <a:pt x="192" y="486"/>
                  </a:lnTo>
                  <a:lnTo>
                    <a:pt x="192" y="480"/>
                  </a:lnTo>
                  <a:lnTo>
                    <a:pt x="186" y="480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74" y="480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62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32" y="462"/>
                  </a:lnTo>
                  <a:lnTo>
                    <a:pt x="126" y="462"/>
                  </a:lnTo>
                  <a:lnTo>
                    <a:pt x="120" y="462"/>
                  </a:lnTo>
                  <a:lnTo>
                    <a:pt x="120" y="456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72" y="468"/>
                  </a:lnTo>
                  <a:lnTo>
                    <a:pt x="72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2" y="414"/>
                  </a:ln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0" y="396"/>
                  </a:lnTo>
                  <a:lnTo>
                    <a:pt x="0" y="234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102" y="210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2" y="150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96" y="138"/>
                  </a:lnTo>
                  <a:lnTo>
                    <a:pt x="102" y="132"/>
                  </a:lnTo>
                  <a:lnTo>
                    <a:pt x="96" y="132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83" name="Freeform 62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4543" y="2298"/>
              <a:ext cx="237" cy="217"/>
            </a:xfrm>
            <a:custGeom>
              <a:avLst/>
              <a:gdLst>
                <a:gd name="T0" fmla="*/ 1 w 384"/>
                <a:gd name="T1" fmla="*/ 8 h 336"/>
                <a:gd name="T2" fmla="*/ 1 w 384"/>
                <a:gd name="T3" fmla="*/ 8 h 336"/>
                <a:gd name="T4" fmla="*/ 2 w 384"/>
                <a:gd name="T5" fmla="*/ 8 h 336"/>
                <a:gd name="T6" fmla="*/ 4 w 384"/>
                <a:gd name="T7" fmla="*/ 8 h 336"/>
                <a:gd name="T8" fmla="*/ 4 w 384"/>
                <a:gd name="T9" fmla="*/ 9 h 336"/>
                <a:gd name="T10" fmla="*/ 4 w 384"/>
                <a:gd name="T11" fmla="*/ 8 h 336"/>
                <a:gd name="T12" fmla="*/ 6 w 384"/>
                <a:gd name="T13" fmla="*/ 7 h 336"/>
                <a:gd name="T14" fmla="*/ 7 w 384"/>
                <a:gd name="T15" fmla="*/ 5 h 336"/>
                <a:gd name="T16" fmla="*/ 9 w 384"/>
                <a:gd name="T17" fmla="*/ 3 h 336"/>
                <a:gd name="T18" fmla="*/ 10 w 384"/>
                <a:gd name="T19" fmla="*/ 2 h 336"/>
                <a:gd name="T20" fmla="*/ 9 w 384"/>
                <a:gd name="T21" fmla="*/ 2 h 336"/>
                <a:gd name="T22" fmla="*/ 10 w 384"/>
                <a:gd name="T23" fmla="*/ 1 h 336"/>
                <a:gd name="T24" fmla="*/ 12 w 384"/>
                <a:gd name="T25" fmla="*/ 1 h 336"/>
                <a:gd name="T26" fmla="*/ 12 w 384"/>
                <a:gd name="T27" fmla="*/ 0 h 336"/>
                <a:gd name="T28" fmla="*/ 14 w 384"/>
                <a:gd name="T29" fmla="*/ 0 h 336"/>
                <a:gd name="T30" fmla="*/ 15 w 384"/>
                <a:gd name="T31" fmla="*/ 2 h 336"/>
                <a:gd name="T32" fmla="*/ 17 w 384"/>
                <a:gd name="T33" fmla="*/ 1 h 336"/>
                <a:gd name="T34" fmla="*/ 17 w 384"/>
                <a:gd name="T35" fmla="*/ 2 h 336"/>
                <a:gd name="T36" fmla="*/ 19 w 384"/>
                <a:gd name="T37" fmla="*/ 3 h 336"/>
                <a:gd name="T38" fmla="*/ 20 w 384"/>
                <a:gd name="T39" fmla="*/ 3 h 336"/>
                <a:gd name="T40" fmla="*/ 22 w 384"/>
                <a:gd name="T41" fmla="*/ 4 h 336"/>
                <a:gd name="T42" fmla="*/ 21 w 384"/>
                <a:gd name="T43" fmla="*/ 5 h 336"/>
                <a:gd name="T44" fmla="*/ 22 w 384"/>
                <a:gd name="T45" fmla="*/ 6 h 336"/>
                <a:gd name="T46" fmla="*/ 22 w 384"/>
                <a:gd name="T47" fmla="*/ 8 h 336"/>
                <a:gd name="T48" fmla="*/ 22 w 384"/>
                <a:gd name="T49" fmla="*/ 8 h 336"/>
                <a:gd name="T50" fmla="*/ 22 w 384"/>
                <a:gd name="T51" fmla="*/ 9 h 336"/>
                <a:gd name="T52" fmla="*/ 21 w 384"/>
                <a:gd name="T53" fmla="*/ 10 h 336"/>
                <a:gd name="T54" fmla="*/ 20 w 384"/>
                <a:gd name="T55" fmla="*/ 11 h 336"/>
                <a:gd name="T56" fmla="*/ 20 w 384"/>
                <a:gd name="T57" fmla="*/ 12 h 336"/>
                <a:gd name="T58" fmla="*/ 21 w 384"/>
                <a:gd name="T59" fmla="*/ 13 h 336"/>
                <a:gd name="T60" fmla="*/ 20 w 384"/>
                <a:gd name="T61" fmla="*/ 14 h 336"/>
                <a:gd name="T62" fmla="*/ 21 w 384"/>
                <a:gd name="T63" fmla="*/ 15 h 336"/>
                <a:gd name="T64" fmla="*/ 21 w 384"/>
                <a:gd name="T65" fmla="*/ 15 h 336"/>
                <a:gd name="T66" fmla="*/ 21 w 384"/>
                <a:gd name="T67" fmla="*/ 16 h 336"/>
                <a:gd name="T68" fmla="*/ 21 w 384"/>
                <a:gd name="T69" fmla="*/ 17 h 336"/>
                <a:gd name="T70" fmla="*/ 20 w 384"/>
                <a:gd name="T71" fmla="*/ 18 h 336"/>
                <a:gd name="T72" fmla="*/ 19 w 384"/>
                <a:gd name="T73" fmla="*/ 19 h 336"/>
                <a:gd name="T74" fmla="*/ 19 w 384"/>
                <a:gd name="T75" fmla="*/ 21 h 336"/>
                <a:gd name="T76" fmla="*/ 17 w 384"/>
                <a:gd name="T77" fmla="*/ 24 h 336"/>
                <a:gd name="T78" fmla="*/ 16 w 384"/>
                <a:gd name="T79" fmla="*/ 24 h 336"/>
                <a:gd name="T80" fmla="*/ 14 w 384"/>
                <a:gd name="T81" fmla="*/ 24 h 336"/>
                <a:gd name="T82" fmla="*/ 14 w 384"/>
                <a:gd name="T83" fmla="*/ 24 h 336"/>
                <a:gd name="T84" fmla="*/ 12 w 384"/>
                <a:gd name="T85" fmla="*/ 23 h 336"/>
                <a:gd name="T86" fmla="*/ 10 w 384"/>
                <a:gd name="T87" fmla="*/ 23 h 336"/>
                <a:gd name="T88" fmla="*/ 10 w 384"/>
                <a:gd name="T89" fmla="*/ 23 h 336"/>
                <a:gd name="T90" fmla="*/ 9 w 384"/>
                <a:gd name="T91" fmla="*/ 22 h 336"/>
                <a:gd name="T92" fmla="*/ 9 w 384"/>
                <a:gd name="T93" fmla="*/ 21 h 336"/>
                <a:gd name="T94" fmla="*/ 7 w 384"/>
                <a:gd name="T95" fmla="*/ 21 h 336"/>
                <a:gd name="T96" fmla="*/ 7 w 384"/>
                <a:gd name="T97" fmla="*/ 21 h 336"/>
                <a:gd name="T98" fmla="*/ 6 w 384"/>
                <a:gd name="T99" fmla="*/ 19 h 336"/>
                <a:gd name="T100" fmla="*/ 6 w 384"/>
                <a:gd name="T101" fmla="*/ 17 h 336"/>
                <a:gd name="T102" fmla="*/ 6 w 384"/>
                <a:gd name="T103" fmla="*/ 17 h 336"/>
                <a:gd name="T104" fmla="*/ 6 w 384"/>
                <a:gd name="T105" fmla="*/ 16 h 336"/>
                <a:gd name="T106" fmla="*/ 4 w 384"/>
                <a:gd name="T107" fmla="*/ 16 h 336"/>
                <a:gd name="T108" fmla="*/ 4 w 384"/>
                <a:gd name="T109" fmla="*/ 15 h 336"/>
                <a:gd name="T110" fmla="*/ 2 w 384"/>
                <a:gd name="T111" fmla="*/ 15 h 336"/>
                <a:gd name="T112" fmla="*/ 2 w 384"/>
                <a:gd name="T113" fmla="*/ 12 h 336"/>
                <a:gd name="T114" fmla="*/ 1 w 384"/>
                <a:gd name="T115" fmla="*/ 11 h 336"/>
                <a:gd name="T116" fmla="*/ 1 w 384"/>
                <a:gd name="T117" fmla="*/ 10 h 336"/>
                <a:gd name="T118" fmla="*/ 1 w 384"/>
                <a:gd name="T119" fmla="*/ 9 h 3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84" h="336">
                  <a:moveTo>
                    <a:pt x="0" y="108"/>
                  </a:moveTo>
                  <a:lnTo>
                    <a:pt x="6" y="108"/>
                  </a:lnTo>
                  <a:lnTo>
                    <a:pt x="12" y="108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14"/>
                  </a:lnTo>
                  <a:lnTo>
                    <a:pt x="90" y="114"/>
                  </a:lnTo>
                  <a:lnTo>
                    <a:pt x="90" y="108"/>
                  </a:lnTo>
                  <a:lnTo>
                    <a:pt x="96" y="102"/>
                  </a:lnTo>
                  <a:lnTo>
                    <a:pt x="102" y="96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6" y="66"/>
                  </a:lnTo>
                  <a:lnTo>
                    <a:pt x="144" y="60"/>
                  </a:lnTo>
                  <a:lnTo>
                    <a:pt x="150" y="54"/>
                  </a:lnTo>
                  <a:lnTo>
                    <a:pt x="168" y="48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04" y="0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2" y="18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24" y="36"/>
                  </a:lnTo>
                  <a:lnTo>
                    <a:pt x="330" y="36"/>
                  </a:lnTo>
                  <a:lnTo>
                    <a:pt x="336" y="42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8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72" y="66"/>
                  </a:lnTo>
                  <a:lnTo>
                    <a:pt x="378" y="66"/>
                  </a:lnTo>
                  <a:lnTo>
                    <a:pt x="378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84" y="90"/>
                  </a:lnTo>
                  <a:lnTo>
                    <a:pt x="378" y="90"/>
                  </a:lnTo>
                  <a:lnTo>
                    <a:pt x="378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84" y="108"/>
                  </a:lnTo>
                  <a:lnTo>
                    <a:pt x="378" y="108"/>
                  </a:lnTo>
                  <a:lnTo>
                    <a:pt x="378" y="114"/>
                  </a:lnTo>
                  <a:lnTo>
                    <a:pt x="384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78" y="144"/>
                  </a:lnTo>
                  <a:lnTo>
                    <a:pt x="378" y="150"/>
                  </a:lnTo>
                  <a:lnTo>
                    <a:pt x="378" y="156"/>
                  </a:lnTo>
                  <a:lnTo>
                    <a:pt x="372" y="156"/>
                  </a:lnTo>
                  <a:lnTo>
                    <a:pt x="366" y="156"/>
                  </a:lnTo>
                  <a:lnTo>
                    <a:pt x="366" y="162"/>
                  </a:lnTo>
                  <a:lnTo>
                    <a:pt x="372" y="162"/>
                  </a:lnTo>
                  <a:lnTo>
                    <a:pt x="366" y="162"/>
                  </a:lnTo>
                  <a:lnTo>
                    <a:pt x="366" y="168"/>
                  </a:lnTo>
                  <a:lnTo>
                    <a:pt x="372" y="168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78" y="204"/>
                  </a:lnTo>
                  <a:lnTo>
                    <a:pt x="378" y="198"/>
                  </a:lnTo>
                  <a:lnTo>
                    <a:pt x="384" y="198"/>
                  </a:lnTo>
                  <a:lnTo>
                    <a:pt x="384" y="204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8" y="228"/>
                  </a:lnTo>
                  <a:lnTo>
                    <a:pt x="378" y="234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66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54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24" y="312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288" y="330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58" y="330"/>
                  </a:lnTo>
                  <a:lnTo>
                    <a:pt x="252" y="336"/>
                  </a:lnTo>
                  <a:lnTo>
                    <a:pt x="246" y="336"/>
                  </a:lnTo>
                  <a:lnTo>
                    <a:pt x="246" y="330"/>
                  </a:lnTo>
                  <a:lnTo>
                    <a:pt x="240" y="330"/>
                  </a:lnTo>
                  <a:lnTo>
                    <a:pt x="234" y="330"/>
                  </a:lnTo>
                  <a:lnTo>
                    <a:pt x="228" y="324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0" y="324"/>
                  </a:lnTo>
                  <a:lnTo>
                    <a:pt x="204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192" y="318"/>
                  </a:lnTo>
                  <a:lnTo>
                    <a:pt x="186" y="318"/>
                  </a:lnTo>
                  <a:lnTo>
                    <a:pt x="186" y="312"/>
                  </a:lnTo>
                  <a:lnTo>
                    <a:pt x="186" y="306"/>
                  </a:lnTo>
                  <a:lnTo>
                    <a:pt x="180" y="306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68" y="300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0" y="294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32" y="288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76"/>
                  </a:lnTo>
                  <a:lnTo>
                    <a:pt x="120" y="276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20" y="240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90" y="216"/>
                  </a:lnTo>
                  <a:lnTo>
                    <a:pt x="84" y="216"/>
                  </a:lnTo>
                  <a:lnTo>
                    <a:pt x="78" y="216"/>
                  </a:lnTo>
                  <a:lnTo>
                    <a:pt x="72" y="216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84" name="Freeform 63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4379" y="2367"/>
              <a:ext cx="290" cy="292"/>
            </a:xfrm>
            <a:custGeom>
              <a:avLst/>
              <a:gdLst>
                <a:gd name="T0" fmla="*/ 15 w 468"/>
                <a:gd name="T1" fmla="*/ 1 h 450"/>
                <a:gd name="T2" fmla="*/ 16 w 468"/>
                <a:gd name="T3" fmla="*/ 3 h 450"/>
                <a:gd name="T4" fmla="*/ 17 w 468"/>
                <a:gd name="T5" fmla="*/ 4 h 450"/>
                <a:gd name="T6" fmla="*/ 17 w 468"/>
                <a:gd name="T7" fmla="*/ 6 h 450"/>
                <a:gd name="T8" fmla="*/ 19 w 468"/>
                <a:gd name="T9" fmla="*/ 8 h 450"/>
                <a:gd name="T10" fmla="*/ 20 w 468"/>
                <a:gd name="T11" fmla="*/ 8 h 450"/>
                <a:gd name="T12" fmla="*/ 20 w 468"/>
                <a:gd name="T13" fmla="*/ 10 h 450"/>
                <a:gd name="T14" fmla="*/ 22 w 468"/>
                <a:gd name="T15" fmla="*/ 10 h 450"/>
                <a:gd name="T16" fmla="*/ 22 w 468"/>
                <a:gd name="T17" fmla="*/ 12 h 450"/>
                <a:gd name="T18" fmla="*/ 22 w 468"/>
                <a:gd name="T19" fmla="*/ 14 h 450"/>
                <a:gd name="T20" fmla="*/ 24 w 468"/>
                <a:gd name="T21" fmla="*/ 14 h 450"/>
                <a:gd name="T22" fmla="*/ 25 w 468"/>
                <a:gd name="T23" fmla="*/ 14 h 450"/>
                <a:gd name="T24" fmla="*/ 25 w 468"/>
                <a:gd name="T25" fmla="*/ 16 h 450"/>
                <a:gd name="T26" fmla="*/ 26 w 468"/>
                <a:gd name="T27" fmla="*/ 16 h 450"/>
                <a:gd name="T28" fmla="*/ 25 w 468"/>
                <a:gd name="T29" fmla="*/ 17 h 450"/>
                <a:gd name="T30" fmla="*/ 24 w 468"/>
                <a:gd name="T31" fmla="*/ 18 h 450"/>
                <a:gd name="T32" fmla="*/ 23 w 468"/>
                <a:gd name="T33" fmla="*/ 18 h 450"/>
                <a:gd name="T34" fmla="*/ 22 w 468"/>
                <a:gd name="T35" fmla="*/ 19 h 450"/>
                <a:gd name="T36" fmla="*/ 22 w 468"/>
                <a:gd name="T37" fmla="*/ 20 h 450"/>
                <a:gd name="T38" fmla="*/ 20 w 468"/>
                <a:gd name="T39" fmla="*/ 21 h 450"/>
                <a:gd name="T40" fmla="*/ 20 w 468"/>
                <a:gd name="T41" fmla="*/ 21 h 450"/>
                <a:gd name="T42" fmla="*/ 20 w 468"/>
                <a:gd name="T43" fmla="*/ 22 h 450"/>
                <a:gd name="T44" fmla="*/ 19 w 468"/>
                <a:gd name="T45" fmla="*/ 23 h 450"/>
                <a:gd name="T46" fmla="*/ 19 w 468"/>
                <a:gd name="T47" fmla="*/ 24 h 450"/>
                <a:gd name="T48" fmla="*/ 19 w 468"/>
                <a:gd name="T49" fmla="*/ 25 h 450"/>
                <a:gd name="T50" fmla="*/ 17 w 468"/>
                <a:gd name="T51" fmla="*/ 25 h 450"/>
                <a:gd name="T52" fmla="*/ 16 w 468"/>
                <a:gd name="T53" fmla="*/ 28 h 450"/>
                <a:gd name="T54" fmla="*/ 15 w 468"/>
                <a:gd name="T55" fmla="*/ 29 h 450"/>
                <a:gd name="T56" fmla="*/ 14 w 468"/>
                <a:gd name="T57" fmla="*/ 29 h 450"/>
                <a:gd name="T58" fmla="*/ 12 w 468"/>
                <a:gd name="T59" fmla="*/ 29 h 450"/>
                <a:gd name="T60" fmla="*/ 11 w 468"/>
                <a:gd name="T61" fmla="*/ 29 h 450"/>
                <a:gd name="T62" fmla="*/ 9 w 468"/>
                <a:gd name="T63" fmla="*/ 28 h 450"/>
                <a:gd name="T64" fmla="*/ 9 w 468"/>
                <a:gd name="T65" fmla="*/ 28 h 450"/>
                <a:gd name="T66" fmla="*/ 7 w 468"/>
                <a:gd name="T67" fmla="*/ 29 h 450"/>
                <a:gd name="T68" fmla="*/ 7 w 468"/>
                <a:gd name="T69" fmla="*/ 30 h 450"/>
                <a:gd name="T70" fmla="*/ 7 w 468"/>
                <a:gd name="T71" fmla="*/ 32 h 450"/>
                <a:gd name="T72" fmla="*/ 6 w 468"/>
                <a:gd name="T73" fmla="*/ 32 h 450"/>
                <a:gd name="T74" fmla="*/ 4 w 468"/>
                <a:gd name="T75" fmla="*/ 34 h 450"/>
                <a:gd name="T76" fmla="*/ 2 w 468"/>
                <a:gd name="T77" fmla="*/ 34 h 450"/>
                <a:gd name="T78" fmla="*/ 1 w 468"/>
                <a:gd name="T79" fmla="*/ 32 h 450"/>
                <a:gd name="T80" fmla="*/ 2 w 468"/>
                <a:gd name="T81" fmla="*/ 32 h 450"/>
                <a:gd name="T82" fmla="*/ 2 w 468"/>
                <a:gd name="T83" fmla="*/ 29 h 450"/>
                <a:gd name="T84" fmla="*/ 1 w 468"/>
                <a:gd name="T85" fmla="*/ 28 h 450"/>
                <a:gd name="T86" fmla="*/ 1 w 468"/>
                <a:gd name="T87" fmla="*/ 27 h 450"/>
                <a:gd name="T88" fmla="*/ 1 w 468"/>
                <a:gd name="T89" fmla="*/ 27 h 450"/>
                <a:gd name="T90" fmla="*/ 2 w 468"/>
                <a:gd name="T91" fmla="*/ 12 h 450"/>
                <a:gd name="T92" fmla="*/ 9 w 468"/>
                <a:gd name="T93" fmla="*/ 1 h 450"/>
                <a:gd name="T94" fmla="*/ 11 w 468"/>
                <a:gd name="T95" fmla="*/ 2 h 450"/>
                <a:gd name="T96" fmla="*/ 11 w 468"/>
                <a:gd name="T97" fmla="*/ 2 h 450"/>
                <a:gd name="T98" fmla="*/ 12 w 468"/>
                <a:gd name="T99" fmla="*/ 1 h 450"/>
                <a:gd name="T100" fmla="*/ 14 w 468"/>
                <a:gd name="T101" fmla="*/ 1 h 450"/>
                <a:gd name="T102" fmla="*/ 15 w 468"/>
                <a:gd name="T103" fmla="*/ 0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68" h="450">
                  <a:moveTo>
                    <a:pt x="264" y="0"/>
                  </a:moveTo>
                  <a:lnTo>
                    <a:pt x="264" y="6"/>
                  </a:lnTo>
                  <a:lnTo>
                    <a:pt x="264" y="12"/>
                  </a:lnTo>
                  <a:lnTo>
                    <a:pt x="270" y="12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30"/>
                  </a:lnTo>
                  <a:lnTo>
                    <a:pt x="282" y="36"/>
                  </a:lnTo>
                  <a:lnTo>
                    <a:pt x="282" y="42"/>
                  </a:lnTo>
                  <a:lnTo>
                    <a:pt x="288" y="42"/>
                  </a:lnTo>
                  <a:lnTo>
                    <a:pt x="288" y="48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306" y="78"/>
                  </a:lnTo>
                  <a:lnTo>
                    <a:pt x="306" y="84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96"/>
                  </a:lnTo>
                  <a:lnTo>
                    <a:pt x="324" y="96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36" y="108"/>
                  </a:lnTo>
                  <a:lnTo>
                    <a:pt x="342" y="108"/>
                  </a:lnTo>
                  <a:lnTo>
                    <a:pt x="348" y="108"/>
                  </a:lnTo>
                  <a:lnTo>
                    <a:pt x="354" y="108"/>
                  </a:lnTo>
                  <a:lnTo>
                    <a:pt x="354" y="114"/>
                  </a:lnTo>
                  <a:lnTo>
                    <a:pt x="360" y="114"/>
                  </a:lnTo>
                  <a:lnTo>
                    <a:pt x="360" y="120"/>
                  </a:lnTo>
                  <a:lnTo>
                    <a:pt x="366" y="126"/>
                  </a:lnTo>
                  <a:lnTo>
                    <a:pt x="366" y="132"/>
                  </a:lnTo>
                  <a:lnTo>
                    <a:pt x="360" y="132"/>
                  </a:lnTo>
                  <a:lnTo>
                    <a:pt x="366" y="132"/>
                  </a:lnTo>
                  <a:lnTo>
                    <a:pt x="372" y="132"/>
                  </a:lnTo>
                  <a:lnTo>
                    <a:pt x="378" y="132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84" y="168"/>
                  </a:lnTo>
                  <a:lnTo>
                    <a:pt x="390" y="168"/>
                  </a:lnTo>
                  <a:lnTo>
                    <a:pt x="390" y="174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396" y="186"/>
                  </a:lnTo>
                  <a:lnTo>
                    <a:pt x="402" y="186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14" y="192"/>
                  </a:lnTo>
                  <a:lnTo>
                    <a:pt x="414" y="186"/>
                  </a:lnTo>
                  <a:lnTo>
                    <a:pt x="420" y="192"/>
                  </a:lnTo>
                  <a:lnTo>
                    <a:pt x="426" y="192"/>
                  </a:lnTo>
                  <a:lnTo>
                    <a:pt x="432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0" y="204"/>
                  </a:lnTo>
                  <a:lnTo>
                    <a:pt x="450" y="210"/>
                  </a:lnTo>
                  <a:lnTo>
                    <a:pt x="456" y="210"/>
                  </a:lnTo>
                  <a:lnTo>
                    <a:pt x="462" y="210"/>
                  </a:lnTo>
                  <a:lnTo>
                    <a:pt x="462" y="216"/>
                  </a:lnTo>
                  <a:lnTo>
                    <a:pt x="468" y="216"/>
                  </a:lnTo>
                  <a:lnTo>
                    <a:pt x="462" y="216"/>
                  </a:lnTo>
                  <a:lnTo>
                    <a:pt x="456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44" y="222"/>
                  </a:lnTo>
                  <a:lnTo>
                    <a:pt x="444" y="228"/>
                  </a:lnTo>
                  <a:lnTo>
                    <a:pt x="444" y="234"/>
                  </a:lnTo>
                  <a:lnTo>
                    <a:pt x="444" y="228"/>
                  </a:lnTo>
                  <a:lnTo>
                    <a:pt x="438" y="234"/>
                  </a:lnTo>
                  <a:lnTo>
                    <a:pt x="432" y="234"/>
                  </a:lnTo>
                  <a:lnTo>
                    <a:pt x="426" y="234"/>
                  </a:lnTo>
                  <a:lnTo>
                    <a:pt x="426" y="240"/>
                  </a:lnTo>
                  <a:lnTo>
                    <a:pt x="420" y="234"/>
                  </a:lnTo>
                  <a:lnTo>
                    <a:pt x="414" y="234"/>
                  </a:lnTo>
                  <a:lnTo>
                    <a:pt x="414" y="240"/>
                  </a:lnTo>
                  <a:lnTo>
                    <a:pt x="408" y="240"/>
                  </a:lnTo>
                  <a:lnTo>
                    <a:pt x="408" y="246"/>
                  </a:lnTo>
                  <a:lnTo>
                    <a:pt x="402" y="246"/>
                  </a:lnTo>
                  <a:lnTo>
                    <a:pt x="402" y="252"/>
                  </a:lnTo>
                  <a:lnTo>
                    <a:pt x="396" y="25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78" y="270"/>
                  </a:lnTo>
                  <a:lnTo>
                    <a:pt x="378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54" y="288"/>
                  </a:lnTo>
                  <a:lnTo>
                    <a:pt x="354" y="294"/>
                  </a:lnTo>
                  <a:lnTo>
                    <a:pt x="348" y="294"/>
                  </a:lnTo>
                  <a:lnTo>
                    <a:pt x="348" y="288"/>
                  </a:lnTo>
                  <a:lnTo>
                    <a:pt x="348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42" y="306"/>
                  </a:lnTo>
                  <a:lnTo>
                    <a:pt x="342" y="312"/>
                  </a:lnTo>
                  <a:lnTo>
                    <a:pt x="342" y="318"/>
                  </a:lnTo>
                  <a:lnTo>
                    <a:pt x="342" y="324"/>
                  </a:lnTo>
                  <a:lnTo>
                    <a:pt x="336" y="324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24" y="336"/>
                  </a:lnTo>
                  <a:lnTo>
                    <a:pt x="318" y="336"/>
                  </a:lnTo>
                  <a:lnTo>
                    <a:pt x="318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294" y="342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82" y="378"/>
                  </a:lnTo>
                  <a:lnTo>
                    <a:pt x="282" y="384"/>
                  </a:lnTo>
                  <a:lnTo>
                    <a:pt x="276" y="390"/>
                  </a:lnTo>
                  <a:lnTo>
                    <a:pt x="270" y="390"/>
                  </a:lnTo>
                  <a:lnTo>
                    <a:pt x="270" y="396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2" y="396"/>
                  </a:lnTo>
                  <a:lnTo>
                    <a:pt x="246" y="396"/>
                  </a:lnTo>
                  <a:lnTo>
                    <a:pt x="240" y="396"/>
                  </a:lnTo>
                  <a:lnTo>
                    <a:pt x="234" y="396"/>
                  </a:lnTo>
                  <a:lnTo>
                    <a:pt x="228" y="396"/>
                  </a:lnTo>
                  <a:lnTo>
                    <a:pt x="222" y="396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0" y="390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0" y="378"/>
                  </a:lnTo>
                  <a:lnTo>
                    <a:pt x="144" y="378"/>
                  </a:lnTo>
                  <a:lnTo>
                    <a:pt x="144" y="384"/>
                  </a:lnTo>
                  <a:lnTo>
                    <a:pt x="144" y="390"/>
                  </a:lnTo>
                  <a:lnTo>
                    <a:pt x="138" y="390"/>
                  </a:lnTo>
                  <a:lnTo>
                    <a:pt x="144" y="390"/>
                  </a:lnTo>
                  <a:lnTo>
                    <a:pt x="138" y="396"/>
                  </a:lnTo>
                  <a:lnTo>
                    <a:pt x="138" y="402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20" y="426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32"/>
                  </a:lnTo>
                  <a:lnTo>
                    <a:pt x="108" y="438"/>
                  </a:lnTo>
                  <a:lnTo>
                    <a:pt x="102" y="438"/>
                  </a:lnTo>
                  <a:lnTo>
                    <a:pt x="96" y="438"/>
                  </a:lnTo>
                  <a:lnTo>
                    <a:pt x="90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50"/>
                  </a:lnTo>
                  <a:lnTo>
                    <a:pt x="78" y="450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2" y="450"/>
                  </a:lnTo>
                  <a:lnTo>
                    <a:pt x="36" y="450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42" y="396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30" y="384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0" y="348"/>
                  </a:lnTo>
                  <a:lnTo>
                    <a:pt x="0" y="210"/>
                  </a:lnTo>
                  <a:lnTo>
                    <a:pt x="48" y="210"/>
                  </a:lnTo>
                  <a:lnTo>
                    <a:pt x="48" y="156"/>
                  </a:lnTo>
                  <a:lnTo>
                    <a:pt x="48" y="24"/>
                  </a:lnTo>
                  <a:lnTo>
                    <a:pt x="72" y="24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10" y="12"/>
                  </a:lnTo>
                  <a:lnTo>
                    <a:pt x="216" y="12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2" y="12"/>
                  </a:lnTo>
                  <a:lnTo>
                    <a:pt x="228" y="12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8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85" name="Freeform 64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4272" y="2508"/>
              <a:ext cx="504" cy="408"/>
            </a:xfrm>
            <a:custGeom>
              <a:avLst/>
              <a:gdLst>
                <a:gd name="T0" fmla="*/ 1 w 816"/>
                <a:gd name="T1" fmla="*/ 22 h 630"/>
                <a:gd name="T2" fmla="*/ 2 w 816"/>
                <a:gd name="T3" fmla="*/ 23 h 630"/>
                <a:gd name="T4" fmla="*/ 4 w 816"/>
                <a:gd name="T5" fmla="*/ 25 h 630"/>
                <a:gd name="T6" fmla="*/ 7 w 816"/>
                <a:gd name="T7" fmla="*/ 25 h 630"/>
                <a:gd name="T8" fmla="*/ 9 w 816"/>
                <a:gd name="T9" fmla="*/ 23 h 630"/>
                <a:gd name="T10" fmla="*/ 11 w 816"/>
                <a:gd name="T11" fmla="*/ 10 h 630"/>
                <a:gd name="T12" fmla="*/ 12 w 816"/>
                <a:gd name="T13" fmla="*/ 12 h 630"/>
                <a:gd name="T14" fmla="*/ 12 w 816"/>
                <a:gd name="T15" fmla="*/ 16 h 630"/>
                <a:gd name="T16" fmla="*/ 14 w 816"/>
                <a:gd name="T17" fmla="*/ 17 h 630"/>
                <a:gd name="T18" fmla="*/ 15 w 816"/>
                <a:gd name="T19" fmla="*/ 16 h 630"/>
                <a:gd name="T20" fmla="*/ 17 w 816"/>
                <a:gd name="T21" fmla="*/ 12 h 630"/>
                <a:gd name="T22" fmla="*/ 19 w 816"/>
                <a:gd name="T23" fmla="*/ 11 h 630"/>
                <a:gd name="T24" fmla="*/ 22 w 816"/>
                <a:gd name="T25" fmla="*/ 12 h 630"/>
                <a:gd name="T26" fmla="*/ 24 w 816"/>
                <a:gd name="T27" fmla="*/ 14 h 630"/>
                <a:gd name="T28" fmla="*/ 27 w 816"/>
                <a:gd name="T29" fmla="*/ 10 h 630"/>
                <a:gd name="T30" fmla="*/ 28 w 816"/>
                <a:gd name="T31" fmla="*/ 8 h 630"/>
                <a:gd name="T32" fmla="*/ 29 w 816"/>
                <a:gd name="T33" fmla="*/ 5 h 630"/>
                <a:gd name="T34" fmla="*/ 30 w 816"/>
                <a:gd name="T35" fmla="*/ 4 h 630"/>
                <a:gd name="T36" fmla="*/ 32 w 816"/>
                <a:gd name="T37" fmla="*/ 3 h 630"/>
                <a:gd name="T38" fmla="*/ 33 w 816"/>
                <a:gd name="T39" fmla="*/ 2 h 630"/>
                <a:gd name="T40" fmla="*/ 35 w 816"/>
                <a:gd name="T41" fmla="*/ 0 h 630"/>
                <a:gd name="T42" fmla="*/ 38 w 816"/>
                <a:gd name="T43" fmla="*/ 1 h 630"/>
                <a:gd name="T44" fmla="*/ 40 w 816"/>
                <a:gd name="T45" fmla="*/ 1 h 630"/>
                <a:gd name="T46" fmla="*/ 43 w 816"/>
                <a:gd name="T47" fmla="*/ 8 h 630"/>
                <a:gd name="T48" fmla="*/ 43 w 816"/>
                <a:gd name="T49" fmla="*/ 12 h 630"/>
                <a:gd name="T50" fmla="*/ 41 w 816"/>
                <a:gd name="T51" fmla="*/ 14 h 630"/>
                <a:gd name="T52" fmla="*/ 40 w 816"/>
                <a:gd name="T53" fmla="*/ 17 h 630"/>
                <a:gd name="T54" fmla="*/ 41 w 816"/>
                <a:gd name="T55" fmla="*/ 19 h 630"/>
                <a:gd name="T56" fmla="*/ 46 w 816"/>
                <a:gd name="T57" fmla="*/ 17 h 630"/>
                <a:gd name="T58" fmla="*/ 44 w 816"/>
                <a:gd name="T59" fmla="*/ 22 h 630"/>
                <a:gd name="T60" fmla="*/ 43 w 816"/>
                <a:gd name="T61" fmla="*/ 25 h 630"/>
                <a:gd name="T62" fmla="*/ 40 w 816"/>
                <a:gd name="T63" fmla="*/ 28 h 630"/>
                <a:gd name="T64" fmla="*/ 40 w 816"/>
                <a:gd name="T65" fmla="*/ 30 h 630"/>
                <a:gd name="T66" fmla="*/ 38 w 816"/>
                <a:gd name="T67" fmla="*/ 34 h 630"/>
                <a:gd name="T68" fmla="*/ 35 w 816"/>
                <a:gd name="T69" fmla="*/ 36 h 630"/>
                <a:gd name="T70" fmla="*/ 34 w 816"/>
                <a:gd name="T71" fmla="*/ 38 h 630"/>
                <a:gd name="T72" fmla="*/ 33 w 816"/>
                <a:gd name="T73" fmla="*/ 39 h 630"/>
                <a:gd name="T74" fmla="*/ 30 w 816"/>
                <a:gd name="T75" fmla="*/ 41 h 630"/>
                <a:gd name="T76" fmla="*/ 28 w 816"/>
                <a:gd name="T77" fmla="*/ 42 h 630"/>
                <a:gd name="T78" fmla="*/ 25 w 816"/>
                <a:gd name="T79" fmla="*/ 43 h 630"/>
                <a:gd name="T80" fmla="*/ 23 w 816"/>
                <a:gd name="T81" fmla="*/ 43 h 630"/>
                <a:gd name="T82" fmla="*/ 21 w 816"/>
                <a:gd name="T83" fmla="*/ 43 h 630"/>
                <a:gd name="T84" fmla="*/ 19 w 816"/>
                <a:gd name="T85" fmla="*/ 43 h 630"/>
                <a:gd name="T86" fmla="*/ 17 w 816"/>
                <a:gd name="T87" fmla="*/ 43 h 630"/>
                <a:gd name="T88" fmla="*/ 14 w 816"/>
                <a:gd name="T89" fmla="*/ 45 h 630"/>
                <a:gd name="T90" fmla="*/ 14 w 816"/>
                <a:gd name="T91" fmla="*/ 45 h 630"/>
                <a:gd name="T92" fmla="*/ 11 w 816"/>
                <a:gd name="T93" fmla="*/ 46 h 630"/>
                <a:gd name="T94" fmla="*/ 9 w 816"/>
                <a:gd name="T95" fmla="*/ 47 h 630"/>
                <a:gd name="T96" fmla="*/ 7 w 816"/>
                <a:gd name="T97" fmla="*/ 45 h 630"/>
                <a:gd name="T98" fmla="*/ 6 w 816"/>
                <a:gd name="T99" fmla="*/ 43 h 630"/>
                <a:gd name="T100" fmla="*/ 6 w 816"/>
                <a:gd name="T101" fmla="*/ 45 h 630"/>
                <a:gd name="T102" fmla="*/ 6 w 816"/>
                <a:gd name="T103" fmla="*/ 43 h 630"/>
                <a:gd name="T104" fmla="*/ 4 w 816"/>
                <a:gd name="T105" fmla="*/ 40 h 630"/>
                <a:gd name="T106" fmla="*/ 4 w 816"/>
                <a:gd name="T107" fmla="*/ 40 h 630"/>
                <a:gd name="T108" fmla="*/ 4 w 816"/>
                <a:gd name="T109" fmla="*/ 39 h 630"/>
                <a:gd name="T110" fmla="*/ 6 w 816"/>
                <a:gd name="T111" fmla="*/ 35 h 630"/>
                <a:gd name="T112" fmla="*/ 4 w 816"/>
                <a:gd name="T113" fmla="*/ 32 h 630"/>
                <a:gd name="T114" fmla="*/ 2 w 816"/>
                <a:gd name="T115" fmla="*/ 29 h 630"/>
                <a:gd name="T116" fmla="*/ 1 w 816"/>
                <a:gd name="T117" fmla="*/ 25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16" h="630">
                  <a:moveTo>
                    <a:pt x="0" y="318"/>
                  </a:moveTo>
                  <a:lnTo>
                    <a:pt x="6" y="318"/>
                  </a:lnTo>
                  <a:lnTo>
                    <a:pt x="6" y="312"/>
                  </a:lnTo>
                  <a:lnTo>
                    <a:pt x="12" y="312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6" y="294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48" y="324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6" y="330"/>
                  </a:lnTo>
                  <a:lnTo>
                    <a:pt x="72" y="330"/>
                  </a:lnTo>
                  <a:lnTo>
                    <a:pt x="78" y="330"/>
                  </a:lnTo>
                  <a:lnTo>
                    <a:pt x="78" y="336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6" y="336"/>
                  </a:lnTo>
                  <a:lnTo>
                    <a:pt x="102" y="336"/>
                  </a:lnTo>
                  <a:lnTo>
                    <a:pt x="108" y="330"/>
                  </a:lnTo>
                  <a:lnTo>
                    <a:pt x="114" y="330"/>
                  </a:lnTo>
                  <a:lnTo>
                    <a:pt x="120" y="330"/>
                  </a:lnTo>
                  <a:lnTo>
                    <a:pt x="120" y="336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62" y="318"/>
                  </a:lnTo>
                  <a:lnTo>
                    <a:pt x="168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74" y="132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92" y="138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210" y="162"/>
                  </a:lnTo>
                  <a:lnTo>
                    <a:pt x="204" y="168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0" y="180"/>
                  </a:lnTo>
                  <a:lnTo>
                    <a:pt x="216" y="180"/>
                  </a:lnTo>
                  <a:lnTo>
                    <a:pt x="216" y="186"/>
                  </a:lnTo>
                  <a:lnTo>
                    <a:pt x="216" y="192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04" y="210"/>
                  </a:lnTo>
                  <a:lnTo>
                    <a:pt x="204" y="216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10" y="234"/>
                  </a:lnTo>
                  <a:lnTo>
                    <a:pt x="216" y="234"/>
                  </a:lnTo>
                  <a:lnTo>
                    <a:pt x="222" y="228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34"/>
                  </a:lnTo>
                  <a:lnTo>
                    <a:pt x="240" y="234"/>
                  </a:lnTo>
                  <a:lnTo>
                    <a:pt x="246" y="234"/>
                  </a:lnTo>
                  <a:lnTo>
                    <a:pt x="252" y="234"/>
                  </a:lnTo>
                  <a:lnTo>
                    <a:pt x="258" y="234"/>
                  </a:lnTo>
                  <a:lnTo>
                    <a:pt x="264" y="234"/>
                  </a:lnTo>
                  <a:lnTo>
                    <a:pt x="264" y="228"/>
                  </a:lnTo>
                  <a:lnTo>
                    <a:pt x="264" y="222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82" y="222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8" y="210"/>
                  </a:lnTo>
                  <a:lnTo>
                    <a:pt x="294" y="210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12" y="192"/>
                  </a:lnTo>
                  <a:lnTo>
                    <a:pt x="312" y="186"/>
                  </a:lnTo>
                  <a:lnTo>
                    <a:pt x="312" y="180"/>
                  </a:lnTo>
                  <a:lnTo>
                    <a:pt x="318" y="174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24" y="162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8" y="156"/>
                  </a:lnTo>
                  <a:lnTo>
                    <a:pt x="354" y="162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8" y="174"/>
                  </a:lnTo>
                  <a:lnTo>
                    <a:pt x="384" y="174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6" y="180"/>
                  </a:lnTo>
                  <a:lnTo>
                    <a:pt x="402" y="180"/>
                  </a:lnTo>
                  <a:lnTo>
                    <a:pt x="408" y="180"/>
                  </a:lnTo>
                  <a:lnTo>
                    <a:pt x="414" y="180"/>
                  </a:lnTo>
                  <a:lnTo>
                    <a:pt x="420" y="180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56" y="156"/>
                  </a:lnTo>
                  <a:lnTo>
                    <a:pt x="462" y="156"/>
                  </a:lnTo>
                  <a:lnTo>
                    <a:pt x="468" y="138"/>
                  </a:lnTo>
                  <a:lnTo>
                    <a:pt x="468" y="132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6"/>
                  </a:lnTo>
                  <a:lnTo>
                    <a:pt x="492" y="126"/>
                  </a:lnTo>
                  <a:lnTo>
                    <a:pt x="492" y="120"/>
                  </a:lnTo>
                  <a:lnTo>
                    <a:pt x="498" y="120"/>
                  </a:lnTo>
                  <a:lnTo>
                    <a:pt x="498" y="114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16" y="108"/>
                  </a:lnTo>
                  <a:lnTo>
                    <a:pt x="516" y="102"/>
                  </a:lnTo>
                  <a:lnTo>
                    <a:pt x="516" y="96"/>
                  </a:lnTo>
                  <a:lnTo>
                    <a:pt x="516" y="90"/>
                  </a:lnTo>
                  <a:lnTo>
                    <a:pt x="522" y="90"/>
                  </a:lnTo>
                  <a:lnTo>
                    <a:pt x="522" y="84"/>
                  </a:lnTo>
                  <a:lnTo>
                    <a:pt x="522" y="78"/>
                  </a:lnTo>
                  <a:lnTo>
                    <a:pt x="522" y="72"/>
                  </a:lnTo>
                  <a:lnTo>
                    <a:pt x="522" y="78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34" y="66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6" y="66"/>
                  </a:lnTo>
                  <a:lnTo>
                    <a:pt x="546" y="60"/>
                  </a:lnTo>
                  <a:lnTo>
                    <a:pt x="552" y="60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48"/>
                  </a:lnTo>
                  <a:lnTo>
                    <a:pt x="558" y="48"/>
                  </a:lnTo>
                  <a:lnTo>
                    <a:pt x="564" y="48"/>
                  </a:lnTo>
                  <a:lnTo>
                    <a:pt x="570" y="48"/>
                  </a:lnTo>
                  <a:lnTo>
                    <a:pt x="570" y="42"/>
                  </a:lnTo>
                  <a:lnTo>
                    <a:pt x="576" y="36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2"/>
                  </a:lnTo>
                  <a:lnTo>
                    <a:pt x="618" y="18"/>
                  </a:lnTo>
                  <a:lnTo>
                    <a:pt x="618" y="12"/>
                  </a:lnTo>
                  <a:lnTo>
                    <a:pt x="618" y="6"/>
                  </a:lnTo>
                  <a:lnTo>
                    <a:pt x="624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0"/>
                  </a:lnTo>
                  <a:lnTo>
                    <a:pt x="648" y="0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90" y="12"/>
                  </a:lnTo>
                  <a:lnTo>
                    <a:pt x="696" y="6"/>
                  </a:lnTo>
                  <a:lnTo>
                    <a:pt x="702" y="6"/>
                  </a:lnTo>
                  <a:lnTo>
                    <a:pt x="708" y="6"/>
                  </a:lnTo>
                  <a:lnTo>
                    <a:pt x="714" y="6"/>
                  </a:lnTo>
                  <a:lnTo>
                    <a:pt x="720" y="6"/>
                  </a:lnTo>
                  <a:lnTo>
                    <a:pt x="726" y="12"/>
                  </a:lnTo>
                  <a:lnTo>
                    <a:pt x="726" y="6"/>
                  </a:lnTo>
                  <a:lnTo>
                    <a:pt x="732" y="6"/>
                  </a:lnTo>
                  <a:lnTo>
                    <a:pt x="732" y="12"/>
                  </a:lnTo>
                  <a:lnTo>
                    <a:pt x="738" y="12"/>
                  </a:lnTo>
                  <a:lnTo>
                    <a:pt x="750" y="48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6" y="72"/>
                  </a:lnTo>
                  <a:lnTo>
                    <a:pt x="756" y="78"/>
                  </a:lnTo>
                  <a:lnTo>
                    <a:pt x="762" y="84"/>
                  </a:lnTo>
                  <a:lnTo>
                    <a:pt x="762" y="90"/>
                  </a:lnTo>
                  <a:lnTo>
                    <a:pt x="768" y="90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74" y="150"/>
                  </a:lnTo>
                  <a:lnTo>
                    <a:pt x="774" y="156"/>
                  </a:lnTo>
                  <a:lnTo>
                    <a:pt x="774" y="162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74" y="174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68" y="192"/>
                  </a:lnTo>
                  <a:lnTo>
                    <a:pt x="762" y="192"/>
                  </a:lnTo>
                  <a:lnTo>
                    <a:pt x="750" y="186"/>
                  </a:lnTo>
                  <a:lnTo>
                    <a:pt x="750" y="180"/>
                  </a:lnTo>
                  <a:lnTo>
                    <a:pt x="744" y="180"/>
                  </a:lnTo>
                  <a:lnTo>
                    <a:pt x="738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26" y="192"/>
                  </a:lnTo>
                  <a:lnTo>
                    <a:pt x="720" y="204"/>
                  </a:lnTo>
                  <a:lnTo>
                    <a:pt x="714" y="204"/>
                  </a:lnTo>
                  <a:lnTo>
                    <a:pt x="714" y="210"/>
                  </a:lnTo>
                  <a:lnTo>
                    <a:pt x="714" y="216"/>
                  </a:lnTo>
                  <a:lnTo>
                    <a:pt x="714" y="222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0" y="240"/>
                  </a:lnTo>
                  <a:lnTo>
                    <a:pt x="726" y="246"/>
                  </a:lnTo>
                  <a:lnTo>
                    <a:pt x="732" y="252"/>
                  </a:lnTo>
                  <a:lnTo>
                    <a:pt x="738" y="252"/>
                  </a:lnTo>
                  <a:lnTo>
                    <a:pt x="744" y="258"/>
                  </a:lnTo>
                  <a:lnTo>
                    <a:pt x="750" y="258"/>
                  </a:lnTo>
                  <a:lnTo>
                    <a:pt x="768" y="258"/>
                  </a:lnTo>
                  <a:lnTo>
                    <a:pt x="768" y="246"/>
                  </a:lnTo>
                  <a:lnTo>
                    <a:pt x="768" y="240"/>
                  </a:lnTo>
                  <a:lnTo>
                    <a:pt x="774" y="234"/>
                  </a:lnTo>
                  <a:lnTo>
                    <a:pt x="780" y="234"/>
                  </a:lnTo>
                  <a:lnTo>
                    <a:pt x="786" y="234"/>
                  </a:lnTo>
                  <a:lnTo>
                    <a:pt x="792" y="234"/>
                  </a:lnTo>
                  <a:lnTo>
                    <a:pt x="810" y="234"/>
                  </a:lnTo>
                  <a:lnTo>
                    <a:pt x="816" y="234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10" y="252"/>
                  </a:lnTo>
                  <a:lnTo>
                    <a:pt x="810" y="258"/>
                  </a:lnTo>
                  <a:lnTo>
                    <a:pt x="804" y="264"/>
                  </a:lnTo>
                  <a:lnTo>
                    <a:pt x="804" y="270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8"/>
                  </a:lnTo>
                  <a:lnTo>
                    <a:pt x="798" y="294"/>
                  </a:lnTo>
                  <a:lnTo>
                    <a:pt x="798" y="300"/>
                  </a:lnTo>
                  <a:lnTo>
                    <a:pt x="798" y="306"/>
                  </a:lnTo>
                  <a:lnTo>
                    <a:pt x="792" y="312"/>
                  </a:lnTo>
                  <a:lnTo>
                    <a:pt x="792" y="318"/>
                  </a:lnTo>
                  <a:lnTo>
                    <a:pt x="786" y="318"/>
                  </a:lnTo>
                  <a:lnTo>
                    <a:pt x="786" y="324"/>
                  </a:lnTo>
                  <a:lnTo>
                    <a:pt x="780" y="324"/>
                  </a:lnTo>
                  <a:lnTo>
                    <a:pt x="774" y="330"/>
                  </a:lnTo>
                  <a:lnTo>
                    <a:pt x="774" y="336"/>
                  </a:lnTo>
                  <a:lnTo>
                    <a:pt x="768" y="336"/>
                  </a:lnTo>
                  <a:lnTo>
                    <a:pt x="762" y="336"/>
                  </a:lnTo>
                  <a:lnTo>
                    <a:pt x="756" y="342"/>
                  </a:lnTo>
                  <a:lnTo>
                    <a:pt x="750" y="348"/>
                  </a:lnTo>
                  <a:lnTo>
                    <a:pt x="744" y="348"/>
                  </a:lnTo>
                  <a:lnTo>
                    <a:pt x="744" y="354"/>
                  </a:lnTo>
                  <a:lnTo>
                    <a:pt x="738" y="354"/>
                  </a:lnTo>
                  <a:lnTo>
                    <a:pt x="738" y="360"/>
                  </a:lnTo>
                  <a:lnTo>
                    <a:pt x="732" y="366"/>
                  </a:lnTo>
                  <a:lnTo>
                    <a:pt x="726" y="372"/>
                  </a:lnTo>
                  <a:lnTo>
                    <a:pt x="726" y="378"/>
                  </a:lnTo>
                  <a:lnTo>
                    <a:pt x="720" y="378"/>
                  </a:lnTo>
                  <a:lnTo>
                    <a:pt x="726" y="378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14" y="390"/>
                  </a:lnTo>
                  <a:lnTo>
                    <a:pt x="708" y="408"/>
                  </a:lnTo>
                  <a:lnTo>
                    <a:pt x="702" y="414"/>
                  </a:lnTo>
                  <a:lnTo>
                    <a:pt x="702" y="420"/>
                  </a:lnTo>
                  <a:lnTo>
                    <a:pt x="696" y="426"/>
                  </a:lnTo>
                  <a:lnTo>
                    <a:pt x="690" y="432"/>
                  </a:lnTo>
                  <a:lnTo>
                    <a:pt x="690" y="438"/>
                  </a:lnTo>
                  <a:lnTo>
                    <a:pt x="684" y="438"/>
                  </a:lnTo>
                  <a:lnTo>
                    <a:pt x="684" y="444"/>
                  </a:lnTo>
                  <a:lnTo>
                    <a:pt x="678" y="444"/>
                  </a:lnTo>
                  <a:lnTo>
                    <a:pt x="678" y="450"/>
                  </a:lnTo>
                  <a:lnTo>
                    <a:pt x="672" y="450"/>
                  </a:lnTo>
                  <a:lnTo>
                    <a:pt x="672" y="456"/>
                  </a:lnTo>
                  <a:lnTo>
                    <a:pt x="666" y="456"/>
                  </a:lnTo>
                  <a:lnTo>
                    <a:pt x="666" y="462"/>
                  </a:lnTo>
                  <a:lnTo>
                    <a:pt x="660" y="462"/>
                  </a:lnTo>
                  <a:lnTo>
                    <a:pt x="654" y="468"/>
                  </a:lnTo>
                  <a:lnTo>
                    <a:pt x="648" y="468"/>
                  </a:lnTo>
                  <a:lnTo>
                    <a:pt x="648" y="474"/>
                  </a:lnTo>
                  <a:lnTo>
                    <a:pt x="642" y="474"/>
                  </a:lnTo>
                  <a:lnTo>
                    <a:pt x="642" y="480"/>
                  </a:lnTo>
                  <a:lnTo>
                    <a:pt x="636" y="480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0" y="492"/>
                  </a:lnTo>
                  <a:lnTo>
                    <a:pt x="624" y="492"/>
                  </a:lnTo>
                  <a:lnTo>
                    <a:pt x="624" y="498"/>
                  </a:lnTo>
                  <a:lnTo>
                    <a:pt x="618" y="498"/>
                  </a:lnTo>
                  <a:lnTo>
                    <a:pt x="618" y="504"/>
                  </a:lnTo>
                  <a:lnTo>
                    <a:pt x="612" y="504"/>
                  </a:lnTo>
                  <a:lnTo>
                    <a:pt x="612" y="510"/>
                  </a:lnTo>
                  <a:lnTo>
                    <a:pt x="606" y="510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600" y="522"/>
                  </a:lnTo>
                  <a:lnTo>
                    <a:pt x="594" y="522"/>
                  </a:lnTo>
                  <a:lnTo>
                    <a:pt x="594" y="516"/>
                  </a:lnTo>
                  <a:lnTo>
                    <a:pt x="594" y="522"/>
                  </a:lnTo>
                  <a:lnTo>
                    <a:pt x="588" y="522"/>
                  </a:lnTo>
                  <a:lnTo>
                    <a:pt x="588" y="528"/>
                  </a:lnTo>
                  <a:lnTo>
                    <a:pt x="582" y="528"/>
                  </a:lnTo>
                  <a:lnTo>
                    <a:pt x="576" y="528"/>
                  </a:lnTo>
                  <a:lnTo>
                    <a:pt x="576" y="534"/>
                  </a:lnTo>
                  <a:lnTo>
                    <a:pt x="570" y="540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58" y="546"/>
                  </a:lnTo>
                  <a:lnTo>
                    <a:pt x="552" y="552"/>
                  </a:lnTo>
                  <a:lnTo>
                    <a:pt x="546" y="552"/>
                  </a:lnTo>
                  <a:lnTo>
                    <a:pt x="546" y="558"/>
                  </a:lnTo>
                  <a:lnTo>
                    <a:pt x="540" y="558"/>
                  </a:lnTo>
                  <a:lnTo>
                    <a:pt x="534" y="558"/>
                  </a:lnTo>
                  <a:lnTo>
                    <a:pt x="534" y="564"/>
                  </a:lnTo>
                  <a:lnTo>
                    <a:pt x="528" y="564"/>
                  </a:lnTo>
                  <a:lnTo>
                    <a:pt x="522" y="564"/>
                  </a:lnTo>
                  <a:lnTo>
                    <a:pt x="522" y="570"/>
                  </a:lnTo>
                  <a:lnTo>
                    <a:pt x="516" y="570"/>
                  </a:lnTo>
                  <a:lnTo>
                    <a:pt x="510" y="570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498" y="576"/>
                  </a:lnTo>
                  <a:lnTo>
                    <a:pt x="492" y="576"/>
                  </a:lnTo>
                  <a:lnTo>
                    <a:pt x="486" y="576"/>
                  </a:lnTo>
                  <a:lnTo>
                    <a:pt x="480" y="576"/>
                  </a:lnTo>
                  <a:lnTo>
                    <a:pt x="474" y="576"/>
                  </a:lnTo>
                  <a:lnTo>
                    <a:pt x="468" y="576"/>
                  </a:lnTo>
                  <a:lnTo>
                    <a:pt x="462" y="576"/>
                  </a:lnTo>
                  <a:lnTo>
                    <a:pt x="456" y="576"/>
                  </a:lnTo>
                  <a:lnTo>
                    <a:pt x="456" y="582"/>
                  </a:lnTo>
                  <a:lnTo>
                    <a:pt x="450" y="582"/>
                  </a:lnTo>
                  <a:lnTo>
                    <a:pt x="456" y="582"/>
                  </a:lnTo>
                  <a:lnTo>
                    <a:pt x="456" y="588"/>
                  </a:lnTo>
                  <a:lnTo>
                    <a:pt x="450" y="594"/>
                  </a:lnTo>
                  <a:lnTo>
                    <a:pt x="444" y="588"/>
                  </a:lnTo>
                  <a:lnTo>
                    <a:pt x="438" y="588"/>
                  </a:lnTo>
                  <a:lnTo>
                    <a:pt x="432" y="588"/>
                  </a:lnTo>
                  <a:lnTo>
                    <a:pt x="426" y="588"/>
                  </a:lnTo>
                  <a:lnTo>
                    <a:pt x="420" y="588"/>
                  </a:lnTo>
                  <a:lnTo>
                    <a:pt x="420" y="594"/>
                  </a:lnTo>
                  <a:lnTo>
                    <a:pt x="414" y="594"/>
                  </a:lnTo>
                  <a:lnTo>
                    <a:pt x="414" y="600"/>
                  </a:lnTo>
                  <a:lnTo>
                    <a:pt x="408" y="600"/>
                  </a:lnTo>
                  <a:lnTo>
                    <a:pt x="408" y="594"/>
                  </a:lnTo>
                  <a:lnTo>
                    <a:pt x="402" y="600"/>
                  </a:lnTo>
                  <a:lnTo>
                    <a:pt x="396" y="594"/>
                  </a:lnTo>
                  <a:lnTo>
                    <a:pt x="390" y="594"/>
                  </a:lnTo>
                  <a:lnTo>
                    <a:pt x="384" y="594"/>
                  </a:lnTo>
                  <a:lnTo>
                    <a:pt x="378" y="594"/>
                  </a:lnTo>
                  <a:lnTo>
                    <a:pt x="378" y="588"/>
                  </a:lnTo>
                  <a:lnTo>
                    <a:pt x="372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42" y="594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88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94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00"/>
                  </a:lnTo>
                  <a:lnTo>
                    <a:pt x="276" y="600"/>
                  </a:lnTo>
                  <a:lnTo>
                    <a:pt x="270" y="600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58" y="606"/>
                  </a:lnTo>
                  <a:lnTo>
                    <a:pt x="252" y="606"/>
                  </a:lnTo>
                  <a:lnTo>
                    <a:pt x="246" y="606"/>
                  </a:lnTo>
                  <a:lnTo>
                    <a:pt x="246" y="612"/>
                  </a:lnTo>
                  <a:lnTo>
                    <a:pt x="240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6"/>
                  </a:lnTo>
                  <a:lnTo>
                    <a:pt x="210" y="606"/>
                  </a:lnTo>
                  <a:lnTo>
                    <a:pt x="216" y="606"/>
                  </a:lnTo>
                  <a:lnTo>
                    <a:pt x="216" y="612"/>
                  </a:lnTo>
                  <a:lnTo>
                    <a:pt x="210" y="612"/>
                  </a:lnTo>
                  <a:lnTo>
                    <a:pt x="204" y="612"/>
                  </a:lnTo>
                  <a:lnTo>
                    <a:pt x="198" y="612"/>
                  </a:lnTo>
                  <a:lnTo>
                    <a:pt x="198" y="618"/>
                  </a:lnTo>
                  <a:lnTo>
                    <a:pt x="192" y="618"/>
                  </a:lnTo>
                  <a:lnTo>
                    <a:pt x="186" y="618"/>
                  </a:lnTo>
                  <a:lnTo>
                    <a:pt x="186" y="624"/>
                  </a:lnTo>
                  <a:lnTo>
                    <a:pt x="180" y="624"/>
                  </a:lnTo>
                  <a:lnTo>
                    <a:pt x="180" y="630"/>
                  </a:lnTo>
                  <a:lnTo>
                    <a:pt x="174" y="630"/>
                  </a:lnTo>
                  <a:lnTo>
                    <a:pt x="168" y="630"/>
                  </a:lnTo>
                  <a:lnTo>
                    <a:pt x="168" y="624"/>
                  </a:lnTo>
                  <a:lnTo>
                    <a:pt x="162" y="624"/>
                  </a:lnTo>
                  <a:lnTo>
                    <a:pt x="156" y="630"/>
                  </a:lnTo>
                  <a:lnTo>
                    <a:pt x="156" y="624"/>
                  </a:lnTo>
                  <a:lnTo>
                    <a:pt x="150" y="624"/>
                  </a:lnTo>
                  <a:lnTo>
                    <a:pt x="144" y="618"/>
                  </a:lnTo>
                  <a:lnTo>
                    <a:pt x="138" y="618"/>
                  </a:lnTo>
                  <a:lnTo>
                    <a:pt x="144" y="618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32" y="612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20" y="606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14" y="600"/>
                  </a:lnTo>
                  <a:lnTo>
                    <a:pt x="120" y="594"/>
                  </a:lnTo>
                  <a:lnTo>
                    <a:pt x="114" y="594"/>
                  </a:lnTo>
                  <a:lnTo>
                    <a:pt x="108" y="594"/>
                  </a:lnTo>
                  <a:lnTo>
                    <a:pt x="102" y="594"/>
                  </a:lnTo>
                  <a:lnTo>
                    <a:pt x="96" y="594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6"/>
                  </a:lnTo>
                  <a:lnTo>
                    <a:pt x="102" y="606"/>
                  </a:lnTo>
                  <a:lnTo>
                    <a:pt x="96" y="606"/>
                  </a:lnTo>
                  <a:lnTo>
                    <a:pt x="96" y="600"/>
                  </a:lnTo>
                  <a:lnTo>
                    <a:pt x="90" y="600"/>
                  </a:lnTo>
                  <a:lnTo>
                    <a:pt x="90" y="594"/>
                  </a:lnTo>
                  <a:lnTo>
                    <a:pt x="96" y="594"/>
                  </a:lnTo>
                  <a:lnTo>
                    <a:pt x="96" y="588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0" y="594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96" y="576"/>
                  </a:lnTo>
                  <a:lnTo>
                    <a:pt x="96" y="570"/>
                  </a:lnTo>
                  <a:lnTo>
                    <a:pt x="90" y="570"/>
                  </a:lnTo>
                  <a:lnTo>
                    <a:pt x="90" y="564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84" y="552"/>
                  </a:lnTo>
                  <a:lnTo>
                    <a:pt x="78" y="552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2" y="540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8" y="528"/>
                  </a:lnTo>
                  <a:lnTo>
                    <a:pt x="84" y="528"/>
                  </a:lnTo>
                  <a:lnTo>
                    <a:pt x="84" y="522"/>
                  </a:lnTo>
                  <a:lnTo>
                    <a:pt x="90" y="522"/>
                  </a:lnTo>
                  <a:lnTo>
                    <a:pt x="90" y="516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84" y="480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6" y="444"/>
                  </a:lnTo>
                  <a:lnTo>
                    <a:pt x="60" y="444"/>
                  </a:lnTo>
                  <a:lnTo>
                    <a:pt x="60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8" y="342"/>
                  </a:lnTo>
                  <a:lnTo>
                    <a:pt x="12" y="342"/>
                  </a:lnTo>
                  <a:lnTo>
                    <a:pt x="12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86" name="Freeform 65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4595" y="2714"/>
              <a:ext cx="78" cy="66"/>
            </a:xfrm>
            <a:custGeom>
              <a:avLst/>
              <a:gdLst>
                <a:gd name="T0" fmla="*/ 6 w 126"/>
                <a:gd name="T1" fmla="*/ 5 h 102"/>
                <a:gd name="T2" fmla="*/ 6 w 126"/>
                <a:gd name="T3" fmla="*/ 4 h 102"/>
                <a:gd name="T4" fmla="*/ 7 w 126"/>
                <a:gd name="T5" fmla="*/ 4 h 102"/>
                <a:gd name="T6" fmla="*/ 7 w 126"/>
                <a:gd name="T7" fmla="*/ 3 h 102"/>
                <a:gd name="T8" fmla="*/ 7 w 126"/>
                <a:gd name="T9" fmla="*/ 3 h 102"/>
                <a:gd name="T10" fmla="*/ 7 w 126"/>
                <a:gd name="T11" fmla="*/ 2 h 102"/>
                <a:gd name="T12" fmla="*/ 6 w 126"/>
                <a:gd name="T13" fmla="*/ 2 h 102"/>
                <a:gd name="T14" fmla="*/ 6 w 126"/>
                <a:gd name="T15" fmla="*/ 1 h 102"/>
                <a:gd name="T16" fmla="*/ 6 w 126"/>
                <a:gd name="T17" fmla="*/ 1 h 102"/>
                <a:gd name="T18" fmla="*/ 4 w 126"/>
                <a:gd name="T19" fmla="*/ 1 h 102"/>
                <a:gd name="T20" fmla="*/ 4 w 126"/>
                <a:gd name="T21" fmla="*/ 0 h 102"/>
                <a:gd name="T22" fmla="*/ 4 w 126"/>
                <a:gd name="T23" fmla="*/ 1 h 102"/>
                <a:gd name="T24" fmla="*/ 4 w 126"/>
                <a:gd name="T25" fmla="*/ 1 h 102"/>
                <a:gd name="T26" fmla="*/ 4 w 126"/>
                <a:gd name="T27" fmla="*/ 1 h 102"/>
                <a:gd name="T28" fmla="*/ 2 w 126"/>
                <a:gd name="T29" fmla="*/ 1 h 102"/>
                <a:gd name="T30" fmla="*/ 2 w 126"/>
                <a:gd name="T31" fmla="*/ 1 h 102"/>
                <a:gd name="T32" fmla="*/ 2 w 126"/>
                <a:gd name="T33" fmla="*/ 1 h 102"/>
                <a:gd name="T34" fmla="*/ 2 w 126"/>
                <a:gd name="T35" fmla="*/ 1 h 102"/>
                <a:gd name="T36" fmla="*/ 2 w 126"/>
                <a:gd name="T37" fmla="*/ 1 h 102"/>
                <a:gd name="T38" fmla="*/ 2 w 126"/>
                <a:gd name="T39" fmla="*/ 2 h 102"/>
                <a:gd name="T40" fmla="*/ 1 w 126"/>
                <a:gd name="T41" fmla="*/ 3 h 102"/>
                <a:gd name="T42" fmla="*/ 1 w 126"/>
                <a:gd name="T43" fmla="*/ 3 h 102"/>
                <a:gd name="T44" fmla="*/ 1 w 126"/>
                <a:gd name="T45" fmla="*/ 3 h 102"/>
                <a:gd name="T46" fmla="*/ 1 w 126"/>
                <a:gd name="T47" fmla="*/ 3 h 102"/>
                <a:gd name="T48" fmla="*/ 0 w 126"/>
                <a:gd name="T49" fmla="*/ 4 h 102"/>
                <a:gd name="T50" fmla="*/ 1 w 126"/>
                <a:gd name="T51" fmla="*/ 4 h 102"/>
                <a:gd name="T52" fmla="*/ 1 w 126"/>
                <a:gd name="T53" fmla="*/ 6 h 102"/>
                <a:gd name="T54" fmla="*/ 1 w 126"/>
                <a:gd name="T55" fmla="*/ 6 h 102"/>
                <a:gd name="T56" fmla="*/ 1 w 126"/>
                <a:gd name="T57" fmla="*/ 6 h 102"/>
                <a:gd name="T58" fmla="*/ 1 w 126"/>
                <a:gd name="T59" fmla="*/ 6 h 102"/>
                <a:gd name="T60" fmla="*/ 1 w 126"/>
                <a:gd name="T61" fmla="*/ 6 h 102"/>
                <a:gd name="T62" fmla="*/ 2 w 126"/>
                <a:gd name="T63" fmla="*/ 7 h 102"/>
                <a:gd name="T64" fmla="*/ 2 w 126"/>
                <a:gd name="T65" fmla="*/ 8 h 102"/>
                <a:gd name="T66" fmla="*/ 2 w 126"/>
                <a:gd name="T67" fmla="*/ 8 h 102"/>
                <a:gd name="T68" fmla="*/ 4 w 126"/>
                <a:gd name="T69" fmla="*/ 7 h 102"/>
                <a:gd name="T70" fmla="*/ 4 w 126"/>
                <a:gd name="T71" fmla="*/ 6 h 102"/>
                <a:gd name="T72" fmla="*/ 4 w 126"/>
                <a:gd name="T73" fmla="*/ 6 h 102"/>
                <a:gd name="T74" fmla="*/ 4 w 126"/>
                <a:gd name="T75" fmla="*/ 6 h 102"/>
                <a:gd name="T76" fmla="*/ 6 w 126"/>
                <a:gd name="T77" fmla="*/ 6 h 102"/>
                <a:gd name="T78" fmla="*/ 6 w 126"/>
                <a:gd name="T79" fmla="*/ 5 h 10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6" h="102">
                  <a:moveTo>
                    <a:pt x="102" y="72"/>
                  </a:moveTo>
                  <a:lnTo>
                    <a:pt x="108" y="72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08" y="54"/>
                  </a:lnTo>
                  <a:lnTo>
                    <a:pt x="114" y="54"/>
                  </a:lnTo>
                  <a:lnTo>
                    <a:pt x="114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102" y="72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87" name="Freeform 66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4128" y="2341"/>
              <a:ext cx="415" cy="385"/>
            </a:xfrm>
            <a:custGeom>
              <a:avLst/>
              <a:gdLst>
                <a:gd name="T0" fmla="*/ 1 w 672"/>
                <a:gd name="T1" fmla="*/ 1 h 594"/>
                <a:gd name="T2" fmla="*/ 2 w 672"/>
                <a:gd name="T3" fmla="*/ 1 h 594"/>
                <a:gd name="T4" fmla="*/ 2 w 672"/>
                <a:gd name="T5" fmla="*/ 1 h 594"/>
                <a:gd name="T6" fmla="*/ 4 w 672"/>
                <a:gd name="T7" fmla="*/ 0 h 594"/>
                <a:gd name="T8" fmla="*/ 6 w 672"/>
                <a:gd name="T9" fmla="*/ 1 h 594"/>
                <a:gd name="T10" fmla="*/ 6 w 672"/>
                <a:gd name="T11" fmla="*/ 2 h 594"/>
                <a:gd name="T12" fmla="*/ 14 w 672"/>
                <a:gd name="T13" fmla="*/ 2 h 594"/>
                <a:gd name="T14" fmla="*/ 19 w 672"/>
                <a:gd name="T15" fmla="*/ 2 h 594"/>
                <a:gd name="T16" fmla="*/ 20 w 672"/>
                <a:gd name="T17" fmla="*/ 3 h 594"/>
                <a:gd name="T18" fmla="*/ 22 w 672"/>
                <a:gd name="T19" fmla="*/ 3 h 594"/>
                <a:gd name="T20" fmla="*/ 22 w 672"/>
                <a:gd name="T21" fmla="*/ 3 h 594"/>
                <a:gd name="T22" fmla="*/ 22 w 672"/>
                <a:gd name="T23" fmla="*/ 3 h 594"/>
                <a:gd name="T24" fmla="*/ 23 w 672"/>
                <a:gd name="T25" fmla="*/ 3 h 594"/>
                <a:gd name="T26" fmla="*/ 25 w 672"/>
                <a:gd name="T27" fmla="*/ 3 h 594"/>
                <a:gd name="T28" fmla="*/ 25 w 672"/>
                <a:gd name="T29" fmla="*/ 3 h 594"/>
                <a:gd name="T30" fmla="*/ 30 w 672"/>
                <a:gd name="T31" fmla="*/ 3 h 594"/>
                <a:gd name="T32" fmla="*/ 35 w 672"/>
                <a:gd name="T33" fmla="*/ 2 h 594"/>
                <a:gd name="T34" fmla="*/ 36 w 672"/>
                <a:gd name="T35" fmla="*/ 2 h 594"/>
                <a:gd name="T36" fmla="*/ 37 w 672"/>
                <a:gd name="T37" fmla="*/ 3 h 594"/>
                <a:gd name="T38" fmla="*/ 36 w 672"/>
                <a:gd name="T39" fmla="*/ 3 h 594"/>
                <a:gd name="T40" fmla="*/ 35 w 672"/>
                <a:gd name="T41" fmla="*/ 3 h 594"/>
                <a:gd name="T42" fmla="*/ 34 w 672"/>
                <a:gd name="T43" fmla="*/ 4 h 594"/>
                <a:gd name="T44" fmla="*/ 33 w 672"/>
                <a:gd name="T45" fmla="*/ 5 h 594"/>
                <a:gd name="T46" fmla="*/ 32 w 672"/>
                <a:gd name="T47" fmla="*/ 4 h 594"/>
                <a:gd name="T48" fmla="*/ 27 w 672"/>
                <a:gd name="T49" fmla="*/ 5 h 594"/>
                <a:gd name="T50" fmla="*/ 22 w 672"/>
                <a:gd name="T51" fmla="*/ 29 h 594"/>
                <a:gd name="T52" fmla="*/ 22 w 672"/>
                <a:gd name="T53" fmla="*/ 42 h 594"/>
                <a:gd name="T54" fmla="*/ 21 w 672"/>
                <a:gd name="T55" fmla="*/ 43 h 594"/>
                <a:gd name="T56" fmla="*/ 20 w 672"/>
                <a:gd name="T57" fmla="*/ 44 h 594"/>
                <a:gd name="T58" fmla="*/ 19 w 672"/>
                <a:gd name="T59" fmla="*/ 44 h 594"/>
                <a:gd name="T60" fmla="*/ 17 w 672"/>
                <a:gd name="T61" fmla="*/ 43 h 594"/>
                <a:gd name="T62" fmla="*/ 16 w 672"/>
                <a:gd name="T63" fmla="*/ 43 h 594"/>
                <a:gd name="T64" fmla="*/ 15 w 672"/>
                <a:gd name="T65" fmla="*/ 42 h 594"/>
                <a:gd name="T66" fmla="*/ 15 w 672"/>
                <a:gd name="T67" fmla="*/ 41 h 594"/>
                <a:gd name="T68" fmla="*/ 14 w 672"/>
                <a:gd name="T69" fmla="*/ 42 h 594"/>
                <a:gd name="T70" fmla="*/ 14 w 672"/>
                <a:gd name="T71" fmla="*/ 42 h 594"/>
                <a:gd name="T72" fmla="*/ 12 w 672"/>
                <a:gd name="T73" fmla="*/ 43 h 594"/>
                <a:gd name="T74" fmla="*/ 12 w 672"/>
                <a:gd name="T75" fmla="*/ 41 h 594"/>
                <a:gd name="T76" fmla="*/ 10 w 672"/>
                <a:gd name="T77" fmla="*/ 40 h 594"/>
                <a:gd name="T78" fmla="*/ 9 w 672"/>
                <a:gd name="T79" fmla="*/ 38 h 594"/>
                <a:gd name="T80" fmla="*/ 9 w 672"/>
                <a:gd name="T81" fmla="*/ 36 h 594"/>
                <a:gd name="T82" fmla="*/ 9 w 672"/>
                <a:gd name="T83" fmla="*/ 36 h 594"/>
                <a:gd name="T84" fmla="*/ 9 w 672"/>
                <a:gd name="T85" fmla="*/ 34 h 594"/>
                <a:gd name="T86" fmla="*/ 9 w 672"/>
                <a:gd name="T87" fmla="*/ 34 h 594"/>
                <a:gd name="T88" fmla="*/ 9 w 672"/>
                <a:gd name="T89" fmla="*/ 32 h 594"/>
                <a:gd name="T90" fmla="*/ 9 w 672"/>
                <a:gd name="T91" fmla="*/ 31 h 594"/>
                <a:gd name="T92" fmla="*/ 9 w 672"/>
                <a:gd name="T93" fmla="*/ 30 h 594"/>
                <a:gd name="T94" fmla="*/ 8 w 672"/>
                <a:gd name="T95" fmla="*/ 28 h 594"/>
                <a:gd name="T96" fmla="*/ 7 w 672"/>
                <a:gd name="T97" fmla="*/ 26 h 594"/>
                <a:gd name="T98" fmla="*/ 7 w 672"/>
                <a:gd name="T99" fmla="*/ 25 h 594"/>
                <a:gd name="T100" fmla="*/ 7 w 672"/>
                <a:gd name="T101" fmla="*/ 23 h 594"/>
                <a:gd name="T102" fmla="*/ 7 w 672"/>
                <a:gd name="T103" fmla="*/ 22 h 594"/>
                <a:gd name="T104" fmla="*/ 7 w 672"/>
                <a:gd name="T105" fmla="*/ 19 h 594"/>
                <a:gd name="T106" fmla="*/ 6 w 672"/>
                <a:gd name="T107" fmla="*/ 18 h 594"/>
                <a:gd name="T108" fmla="*/ 6 w 672"/>
                <a:gd name="T109" fmla="*/ 17 h 594"/>
                <a:gd name="T110" fmla="*/ 6 w 672"/>
                <a:gd name="T111" fmla="*/ 15 h 594"/>
                <a:gd name="T112" fmla="*/ 4 w 672"/>
                <a:gd name="T113" fmla="*/ 14 h 594"/>
                <a:gd name="T114" fmla="*/ 4 w 672"/>
                <a:gd name="T115" fmla="*/ 12 h 594"/>
                <a:gd name="T116" fmla="*/ 2 w 672"/>
                <a:gd name="T117" fmla="*/ 10 h 594"/>
                <a:gd name="T118" fmla="*/ 2 w 672"/>
                <a:gd name="T119" fmla="*/ 7 h 594"/>
                <a:gd name="T120" fmla="*/ 1 w 672"/>
                <a:gd name="T121" fmla="*/ 6 h 594"/>
                <a:gd name="T122" fmla="*/ 0 w 672"/>
                <a:gd name="T123" fmla="*/ 3 h 594"/>
                <a:gd name="T124" fmla="*/ 0 w 672"/>
                <a:gd name="T125" fmla="*/ 1 h 59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672" h="594">
                  <a:moveTo>
                    <a:pt x="0" y="12"/>
                  </a:moveTo>
                  <a:lnTo>
                    <a:pt x="0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44" y="24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36" y="30"/>
                  </a:lnTo>
                  <a:lnTo>
                    <a:pt x="342" y="30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2"/>
                  </a:lnTo>
                  <a:lnTo>
                    <a:pt x="372" y="42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90" y="48"/>
                  </a:lnTo>
                  <a:lnTo>
                    <a:pt x="390" y="42"/>
                  </a:lnTo>
                  <a:lnTo>
                    <a:pt x="396" y="42"/>
                  </a:lnTo>
                  <a:lnTo>
                    <a:pt x="396" y="48"/>
                  </a:lnTo>
                  <a:lnTo>
                    <a:pt x="402" y="48"/>
                  </a:lnTo>
                  <a:lnTo>
                    <a:pt x="402" y="42"/>
                  </a:lnTo>
                  <a:lnTo>
                    <a:pt x="408" y="48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26" y="42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44" y="48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56" y="48"/>
                  </a:lnTo>
                  <a:lnTo>
                    <a:pt x="462" y="48"/>
                  </a:lnTo>
                  <a:lnTo>
                    <a:pt x="468" y="48"/>
                  </a:lnTo>
                  <a:lnTo>
                    <a:pt x="474" y="48"/>
                  </a:lnTo>
                  <a:lnTo>
                    <a:pt x="480" y="54"/>
                  </a:lnTo>
                  <a:lnTo>
                    <a:pt x="552" y="36"/>
                  </a:lnTo>
                  <a:lnTo>
                    <a:pt x="582" y="36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42" y="30"/>
                  </a:lnTo>
                  <a:lnTo>
                    <a:pt x="642" y="24"/>
                  </a:lnTo>
                  <a:lnTo>
                    <a:pt x="642" y="30"/>
                  </a:lnTo>
                  <a:lnTo>
                    <a:pt x="648" y="30"/>
                  </a:lnTo>
                  <a:lnTo>
                    <a:pt x="654" y="30"/>
                  </a:lnTo>
                  <a:lnTo>
                    <a:pt x="660" y="30"/>
                  </a:lnTo>
                  <a:lnTo>
                    <a:pt x="660" y="36"/>
                  </a:lnTo>
                  <a:lnTo>
                    <a:pt x="666" y="36"/>
                  </a:lnTo>
                  <a:lnTo>
                    <a:pt x="666" y="42"/>
                  </a:lnTo>
                  <a:lnTo>
                    <a:pt x="672" y="42"/>
                  </a:lnTo>
                  <a:lnTo>
                    <a:pt x="666" y="42"/>
                  </a:lnTo>
                  <a:lnTo>
                    <a:pt x="660" y="42"/>
                  </a:lnTo>
                  <a:lnTo>
                    <a:pt x="654" y="42"/>
                  </a:lnTo>
                  <a:lnTo>
                    <a:pt x="648" y="42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30" y="54"/>
                  </a:lnTo>
                  <a:lnTo>
                    <a:pt x="630" y="48"/>
                  </a:lnTo>
                  <a:lnTo>
                    <a:pt x="624" y="48"/>
                  </a:lnTo>
                  <a:lnTo>
                    <a:pt x="624" y="54"/>
                  </a:lnTo>
                  <a:lnTo>
                    <a:pt x="618" y="54"/>
                  </a:lnTo>
                  <a:lnTo>
                    <a:pt x="612" y="54"/>
                  </a:lnTo>
                  <a:lnTo>
                    <a:pt x="612" y="60"/>
                  </a:lnTo>
                  <a:lnTo>
                    <a:pt x="606" y="60"/>
                  </a:lnTo>
                  <a:lnTo>
                    <a:pt x="606" y="66"/>
                  </a:lnTo>
                  <a:lnTo>
                    <a:pt x="600" y="66"/>
                  </a:lnTo>
                  <a:lnTo>
                    <a:pt x="600" y="72"/>
                  </a:lnTo>
                  <a:lnTo>
                    <a:pt x="594" y="72"/>
                  </a:lnTo>
                  <a:lnTo>
                    <a:pt x="588" y="78"/>
                  </a:lnTo>
                  <a:lnTo>
                    <a:pt x="588" y="72"/>
                  </a:lnTo>
                  <a:lnTo>
                    <a:pt x="588" y="66"/>
                  </a:lnTo>
                  <a:lnTo>
                    <a:pt x="582" y="66"/>
                  </a:lnTo>
                  <a:lnTo>
                    <a:pt x="582" y="60"/>
                  </a:lnTo>
                  <a:lnTo>
                    <a:pt x="576" y="60"/>
                  </a:lnTo>
                  <a:lnTo>
                    <a:pt x="576" y="54"/>
                  </a:lnTo>
                  <a:lnTo>
                    <a:pt x="570" y="54"/>
                  </a:lnTo>
                  <a:lnTo>
                    <a:pt x="564" y="54"/>
                  </a:lnTo>
                  <a:lnTo>
                    <a:pt x="480" y="66"/>
                  </a:lnTo>
                  <a:lnTo>
                    <a:pt x="456" y="66"/>
                  </a:lnTo>
                  <a:lnTo>
                    <a:pt x="456" y="198"/>
                  </a:lnTo>
                  <a:lnTo>
                    <a:pt x="456" y="252"/>
                  </a:lnTo>
                  <a:lnTo>
                    <a:pt x="408" y="252"/>
                  </a:lnTo>
                  <a:lnTo>
                    <a:pt x="408" y="390"/>
                  </a:lnTo>
                  <a:lnTo>
                    <a:pt x="408" y="570"/>
                  </a:lnTo>
                  <a:lnTo>
                    <a:pt x="402" y="570"/>
                  </a:lnTo>
                  <a:lnTo>
                    <a:pt x="402" y="576"/>
                  </a:lnTo>
                  <a:lnTo>
                    <a:pt x="396" y="576"/>
                  </a:lnTo>
                  <a:lnTo>
                    <a:pt x="396" y="570"/>
                  </a:lnTo>
                  <a:lnTo>
                    <a:pt x="396" y="576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84" y="582"/>
                  </a:lnTo>
                  <a:lnTo>
                    <a:pt x="378" y="588"/>
                  </a:lnTo>
                  <a:lnTo>
                    <a:pt x="372" y="582"/>
                  </a:lnTo>
                  <a:lnTo>
                    <a:pt x="372" y="588"/>
                  </a:lnTo>
                  <a:lnTo>
                    <a:pt x="372" y="594"/>
                  </a:lnTo>
                  <a:lnTo>
                    <a:pt x="366" y="594"/>
                  </a:lnTo>
                  <a:lnTo>
                    <a:pt x="360" y="594"/>
                  </a:lnTo>
                  <a:lnTo>
                    <a:pt x="354" y="594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82" y="570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64" y="552"/>
                  </a:lnTo>
                  <a:lnTo>
                    <a:pt x="258" y="552"/>
                  </a:lnTo>
                  <a:lnTo>
                    <a:pt x="252" y="552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46" y="564"/>
                  </a:lnTo>
                  <a:lnTo>
                    <a:pt x="252" y="564"/>
                  </a:lnTo>
                  <a:lnTo>
                    <a:pt x="246" y="570"/>
                  </a:lnTo>
                  <a:lnTo>
                    <a:pt x="246" y="576"/>
                  </a:lnTo>
                  <a:lnTo>
                    <a:pt x="246" y="570"/>
                  </a:lnTo>
                  <a:lnTo>
                    <a:pt x="240" y="570"/>
                  </a:lnTo>
                  <a:lnTo>
                    <a:pt x="240" y="576"/>
                  </a:lnTo>
                  <a:lnTo>
                    <a:pt x="234" y="576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0" y="564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8" y="546"/>
                  </a:lnTo>
                  <a:lnTo>
                    <a:pt x="192" y="546"/>
                  </a:lnTo>
                  <a:lnTo>
                    <a:pt x="192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2"/>
                  </a:lnTo>
                  <a:lnTo>
                    <a:pt x="180" y="516"/>
                  </a:lnTo>
                  <a:lnTo>
                    <a:pt x="174" y="516"/>
                  </a:lnTo>
                  <a:lnTo>
                    <a:pt x="174" y="510"/>
                  </a:lnTo>
                  <a:lnTo>
                    <a:pt x="174" y="504"/>
                  </a:lnTo>
                  <a:lnTo>
                    <a:pt x="174" y="498"/>
                  </a:lnTo>
                  <a:lnTo>
                    <a:pt x="174" y="492"/>
                  </a:lnTo>
                  <a:lnTo>
                    <a:pt x="168" y="492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2" y="486"/>
                  </a:lnTo>
                  <a:lnTo>
                    <a:pt x="162" y="480"/>
                  </a:lnTo>
                  <a:lnTo>
                    <a:pt x="168" y="480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74"/>
                  </a:lnTo>
                  <a:lnTo>
                    <a:pt x="168" y="468"/>
                  </a:lnTo>
                  <a:lnTo>
                    <a:pt x="162" y="468"/>
                  </a:lnTo>
                  <a:lnTo>
                    <a:pt x="156" y="462"/>
                  </a:lnTo>
                  <a:lnTo>
                    <a:pt x="162" y="462"/>
                  </a:lnTo>
                  <a:lnTo>
                    <a:pt x="156" y="456"/>
                  </a:lnTo>
                  <a:lnTo>
                    <a:pt x="162" y="456"/>
                  </a:lnTo>
                  <a:lnTo>
                    <a:pt x="162" y="450"/>
                  </a:lnTo>
                  <a:lnTo>
                    <a:pt x="156" y="450"/>
                  </a:lnTo>
                  <a:lnTo>
                    <a:pt x="156" y="444"/>
                  </a:lnTo>
                  <a:lnTo>
                    <a:pt x="156" y="438"/>
                  </a:lnTo>
                  <a:lnTo>
                    <a:pt x="150" y="438"/>
                  </a:lnTo>
                  <a:lnTo>
                    <a:pt x="156" y="438"/>
                  </a:lnTo>
                  <a:lnTo>
                    <a:pt x="150" y="432"/>
                  </a:lnTo>
                  <a:lnTo>
                    <a:pt x="156" y="432"/>
                  </a:lnTo>
                  <a:lnTo>
                    <a:pt x="156" y="426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0" y="408"/>
                  </a:lnTo>
                  <a:lnTo>
                    <a:pt x="156" y="408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50" y="396"/>
                  </a:lnTo>
                  <a:lnTo>
                    <a:pt x="150" y="390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44" y="378"/>
                  </a:lnTo>
                  <a:lnTo>
                    <a:pt x="138" y="378"/>
                  </a:lnTo>
                  <a:lnTo>
                    <a:pt x="144" y="378"/>
                  </a:lnTo>
                  <a:lnTo>
                    <a:pt x="144" y="372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32" y="348"/>
                  </a:lnTo>
                  <a:lnTo>
                    <a:pt x="138" y="348"/>
                  </a:lnTo>
                  <a:lnTo>
                    <a:pt x="138" y="342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8" y="312"/>
                  </a:lnTo>
                  <a:lnTo>
                    <a:pt x="132" y="306"/>
                  </a:lnTo>
                  <a:lnTo>
                    <a:pt x="132" y="300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8" y="282"/>
                  </a:lnTo>
                  <a:lnTo>
                    <a:pt x="138" y="276"/>
                  </a:lnTo>
                  <a:lnTo>
                    <a:pt x="132" y="270"/>
                  </a:lnTo>
                  <a:lnTo>
                    <a:pt x="132" y="264"/>
                  </a:lnTo>
                  <a:lnTo>
                    <a:pt x="126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14" y="246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02" y="228"/>
                  </a:lnTo>
                  <a:lnTo>
                    <a:pt x="102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0" y="198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8" y="186"/>
                  </a:lnTo>
                  <a:lnTo>
                    <a:pt x="78" y="174"/>
                  </a:lnTo>
                  <a:lnTo>
                    <a:pt x="72" y="174"/>
                  </a:lnTo>
                  <a:lnTo>
                    <a:pt x="72" y="168"/>
                  </a:lnTo>
                  <a:lnTo>
                    <a:pt x="72" y="162"/>
                  </a:lnTo>
                  <a:lnTo>
                    <a:pt x="66" y="156"/>
                  </a:lnTo>
                  <a:lnTo>
                    <a:pt x="60" y="150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88" name="Freeform 67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4713" y="2625"/>
              <a:ext cx="41" cy="50"/>
            </a:xfrm>
            <a:custGeom>
              <a:avLst/>
              <a:gdLst>
                <a:gd name="T0" fmla="*/ 3 w 66"/>
                <a:gd name="T1" fmla="*/ 1 h 78"/>
                <a:gd name="T2" fmla="*/ 4 w 66"/>
                <a:gd name="T3" fmla="*/ 1 h 78"/>
                <a:gd name="T4" fmla="*/ 4 w 66"/>
                <a:gd name="T5" fmla="*/ 1 h 78"/>
                <a:gd name="T6" fmla="*/ 4 w 66"/>
                <a:gd name="T7" fmla="*/ 2 h 78"/>
                <a:gd name="T8" fmla="*/ 4 w 66"/>
                <a:gd name="T9" fmla="*/ 2 h 78"/>
                <a:gd name="T10" fmla="*/ 4 w 66"/>
                <a:gd name="T11" fmla="*/ 3 h 78"/>
                <a:gd name="T12" fmla="*/ 4 w 66"/>
                <a:gd name="T13" fmla="*/ 4 h 78"/>
                <a:gd name="T14" fmla="*/ 4 w 66"/>
                <a:gd name="T15" fmla="*/ 4 h 78"/>
                <a:gd name="T16" fmla="*/ 3 w 66"/>
                <a:gd name="T17" fmla="*/ 4 h 78"/>
                <a:gd name="T18" fmla="*/ 3 w 66"/>
                <a:gd name="T19" fmla="*/ 4 h 78"/>
                <a:gd name="T20" fmla="*/ 3 w 66"/>
                <a:gd name="T21" fmla="*/ 5 h 78"/>
                <a:gd name="T22" fmla="*/ 2 w 66"/>
                <a:gd name="T23" fmla="*/ 5 h 78"/>
                <a:gd name="T24" fmla="*/ 1 w 66"/>
                <a:gd name="T25" fmla="*/ 5 h 78"/>
                <a:gd name="T26" fmla="*/ 1 w 66"/>
                <a:gd name="T27" fmla="*/ 5 h 78"/>
                <a:gd name="T28" fmla="*/ 1 w 66"/>
                <a:gd name="T29" fmla="*/ 5 h 78"/>
                <a:gd name="T30" fmla="*/ 1 w 66"/>
                <a:gd name="T31" fmla="*/ 4 h 78"/>
                <a:gd name="T32" fmla="*/ 1 w 66"/>
                <a:gd name="T33" fmla="*/ 4 h 78"/>
                <a:gd name="T34" fmla="*/ 1 w 66"/>
                <a:gd name="T35" fmla="*/ 4 h 78"/>
                <a:gd name="T36" fmla="*/ 0 w 66"/>
                <a:gd name="T37" fmla="*/ 4 h 78"/>
                <a:gd name="T38" fmla="*/ 0 w 66"/>
                <a:gd name="T39" fmla="*/ 3 h 78"/>
                <a:gd name="T40" fmla="*/ 0 w 66"/>
                <a:gd name="T41" fmla="*/ 4 h 78"/>
                <a:gd name="T42" fmla="*/ 0 w 66"/>
                <a:gd name="T43" fmla="*/ 3 h 78"/>
                <a:gd name="T44" fmla="*/ 0 w 66"/>
                <a:gd name="T45" fmla="*/ 3 h 78"/>
                <a:gd name="T46" fmla="*/ 0 w 66"/>
                <a:gd name="T47" fmla="*/ 3 h 78"/>
                <a:gd name="T48" fmla="*/ 0 w 66"/>
                <a:gd name="T49" fmla="*/ 2 h 78"/>
                <a:gd name="T50" fmla="*/ 0 w 66"/>
                <a:gd name="T51" fmla="*/ 2 h 78"/>
                <a:gd name="T52" fmla="*/ 1 w 66"/>
                <a:gd name="T53" fmla="*/ 2 h 78"/>
                <a:gd name="T54" fmla="*/ 1 w 66"/>
                <a:gd name="T55" fmla="*/ 1 h 78"/>
                <a:gd name="T56" fmla="*/ 1 w 66"/>
                <a:gd name="T57" fmla="*/ 1 h 78"/>
                <a:gd name="T58" fmla="*/ 1 w 66"/>
                <a:gd name="T59" fmla="*/ 0 h 78"/>
                <a:gd name="T60" fmla="*/ 1 w 66"/>
                <a:gd name="T61" fmla="*/ 0 h 78"/>
                <a:gd name="T62" fmla="*/ 1 w 66"/>
                <a:gd name="T63" fmla="*/ 0 h 78"/>
                <a:gd name="T64" fmla="*/ 2 w 66"/>
                <a:gd name="T65" fmla="*/ 0 h 78"/>
                <a:gd name="T66" fmla="*/ 2 w 66"/>
                <a:gd name="T67" fmla="*/ 1 h 78"/>
                <a:gd name="T68" fmla="*/ 2 w 66"/>
                <a:gd name="T69" fmla="*/ 1 h 78"/>
                <a:gd name="T70" fmla="*/ 3 w 66"/>
                <a:gd name="T71" fmla="*/ 1 h 78"/>
                <a:gd name="T72" fmla="*/ 3 w 66"/>
                <a:gd name="T73" fmla="*/ 1 h 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6" h="78">
                  <a:moveTo>
                    <a:pt x="54" y="6"/>
                  </a:moveTo>
                  <a:lnTo>
                    <a:pt x="60" y="12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30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89" name="Freeform 68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4787" y="2162"/>
              <a:ext cx="97" cy="183"/>
            </a:xfrm>
            <a:custGeom>
              <a:avLst/>
              <a:gdLst>
                <a:gd name="T0" fmla="*/ 0 w 156"/>
                <a:gd name="T1" fmla="*/ 10 h 282"/>
                <a:gd name="T2" fmla="*/ 1 w 156"/>
                <a:gd name="T3" fmla="*/ 10 h 282"/>
                <a:gd name="T4" fmla="*/ 1 w 156"/>
                <a:gd name="T5" fmla="*/ 12 h 282"/>
                <a:gd name="T6" fmla="*/ 1 w 156"/>
                <a:gd name="T7" fmla="*/ 12 h 282"/>
                <a:gd name="T8" fmla="*/ 2 w 156"/>
                <a:gd name="T9" fmla="*/ 12 h 282"/>
                <a:gd name="T10" fmla="*/ 4 w 156"/>
                <a:gd name="T11" fmla="*/ 12 h 282"/>
                <a:gd name="T12" fmla="*/ 4 w 156"/>
                <a:gd name="T13" fmla="*/ 12 h 282"/>
                <a:gd name="T14" fmla="*/ 4 w 156"/>
                <a:gd name="T15" fmla="*/ 13 h 282"/>
                <a:gd name="T16" fmla="*/ 4 w 156"/>
                <a:gd name="T17" fmla="*/ 14 h 282"/>
                <a:gd name="T18" fmla="*/ 4 w 156"/>
                <a:gd name="T19" fmla="*/ 15 h 282"/>
                <a:gd name="T20" fmla="*/ 4 w 156"/>
                <a:gd name="T21" fmla="*/ 16 h 282"/>
                <a:gd name="T22" fmla="*/ 2 w 156"/>
                <a:gd name="T23" fmla="*/ 16 h 282"/>
                <a:gd name="T24" fmla="*/ 3 w 156"/>
                <a:gd name="T25" fmla="*/ 17 h 282"/>
                <a:gd name="T26" fmla="*/ 3 w 156"/>
                <a:gd name="T27" fmla="*/ 18 h 282"/>
                <a:gd name="T28" fmla="*/ 4 w 156"/>
                <a:gd name="T29" fmla="*/ 18 h 282"/>
                <a:gd name="T30" fmla="*/ 4 w 156"/>
                <a:gd name="T31" fmla="*/ 19 h 282"/>
                <a:gd name="T32" fmla="*/ 4 w 156"/>
                <a:gd name="T33" fmla="*/ 19 h 282"/>
                <a:gd name="T34" fmla="*/ 4 w 156"/>
                <a:gd name="T35" fmla="*/ 20 h 282"/>
                <a:gd name="T36" fmla="*/ 6 w 156"/>
                <a:gd name="T37" fmla="*/ 21 h 282"/>
                <a:gd name="T38" fmla="*/ 6 w 156"/>
                <a:gd name="T39" fmla="*/ 21 h 282"/>
                <a:gd name="T40" fmla="*/ 6 w 156"/>
                <a:gd name="T41" fmla="*/ 20 h 282"/>
                <a:gd name="T42" fmla="*/ 6 w 156"/>
                <a:gd name="T43" fmla="*/ 19 h 282"/>
                <a:gd name="T44" fmla="*/ 6 w 156"/>
                <a:gd name="T45" fmla="*/ 18 h 282"/>
                <a:gd name="T46" fmla="*/ 7 w 156"/>
                <a:gd name="T47" fmla="*/ 18 h 282"/>
                <a:gd name="T48" fmla="*/ 7 w 156"/>
                <a:gd name="T49" fmla="*/ 17 h 282"/>
                <a:gd name="T50" fmla="*/ 7 w 156"/>
                <a:gd name="T51" fmla="*/ 14 h 282"/>
                <a:gd name="T52" fmla="*/ 7 w 156"/>
                <a:gd name="T53" fmla="*/ 10 h 282"/>
                <a:gd name="T54" fmla="*/ 6 w 156"/>
                <a:gd name="T55" fmla="*/ 8 h 282"/>
                <a:gd name="T56" fmla="*/ 4 w 156"/>
                <a:gd name="T57" fmla="*/ 8 h 282"/>
                <a:gd name="T58" fmla="*/ 4 w 156"/>
                <a:gd name="T59" fmla="*/ 6 h 282"/>
                <a:gd name="T60" fmla="*/ 4 w 156"/>
                <a:gd name="T61" fmla="*/ 5 h 282"/>
                <a:gd name="T62" fmla="*/ 4 w 156"/>
                <a:gd name="T63" fmla="*/ 3 h 282"/>
                <a:gd name="T64" fmla="*/ 4 w 156"/>
                <a:gd name="T65" fmla="*/ 3 h 282"/>
                <a:gd name="T66" fmla="*/ 4 w 156"/>
                <a:gd name="T67" fmla="*/ 1 h 282"/>
                <a:gd name="T68" fmla="*/ 6 w 156"/>
                <a:gd name="T69" fmla="*/ 1 h 282"/>
                <a:gd name="T70" fmla="*/ 6 w 156"/>
                <a:gd name="T71" fmla="*/ 1 h 282"/>
                <a:gd name="T72" fmla="*/ 7 w 156"/>
                <a:gd name="T73" fmla="*/ 1 h 282"/>
                <a:gd name="T74" fmla="*/ 7 w 156"/>
                <a:gd name="T75" fmla="*/ 1 h 282"/>
                <a:gd name="T76" fmla="*/ 7 w 156"/>
                <a:gd name="T77" fmla="*/ 1 h 282"/>
                <a:gd name="T78" fmla="*/ 7 w 156"/>
                <a:gd name="T79" fmla="*/ 0 h 282"/>
                <a:gd name="T80" fmla="*/ 9 w 156"/>
                <a:gd name="T81" fmla="*/ 1 h 282"/>
                <a:gd name="T82" fmla="*/ 9 w 156"/>
                <a:gd name="T83" fmla="*/ 1 h 282"/>
                <a:gd name="T84" fmla="*/ 9 w 156"/>
                <a:gd name="T85" fmla="*/ 1 h 2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56" h="282">
                  <a:moveTo>
                    <a:pt x="0" y="132"/>
                  </a:move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54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66" y="168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54" y="234"/>
                  </a:lnTo>
                  <a:lnTo>
                    <a:pt x="54" y="240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6"/>
                  </a:lnTo>
                  <a:lnTo>
                    <a:pt x="66" y="252"/>
                  </a:lnTo>
                  <a:lnTo>
                    <a:pt x="72" y="252"/>
                  </a:lnTo>
                  <a:lnTo>
                    <a:pt x="72" y="258"/>
                  </a:lnTo>
                  <a:lnTo>
                    <a:pt x="78" y="258"/>
                  </a:lnTo>
                  <a:lnTo>
                    <a:pt x="78" y="264"/>
                  </a:lnTo>
                  <a:lnTo>
                    <a:pt x="84" y="264"/>
                  </a:lnTo>
                  <a:lnTo>
                    <a:pt x="84" y="270"/>
                  </a:lnTo>
                  <a:lnTo>
                    <a:pt x="90" y="270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0" y="276"/>
                  </a:lnTo>
                  <a:lnTo>
                    <a:pt x="90" y="282"/>
                  </a:lnTo>
                  <a:lnTo>
                    <a:pt x="102" y="282"/>
                  </a:lnTo>
                  <a:lnTo>
                    <a:pt x="102" y="276"/>
                  </a:lnTo>
                  <a:lnTo>
                    <a:pt x="102" y="270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6" y="252"/>
                  </a:lnTo>
                  <a:lnTo>
                    <a:pt x="102" y="252"/>
                  </a:lnTo>
                  <a:lnTo>
                    <a:pt x="102" y="246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14" y="234"/>
                  </a:lnTo>
                  <a:lnTo>
                    <a:pt x="120" y="234"/>
                  </a:lnTo>
                  <a:lnTo>
                    <a:pt x="126" y="234"/>
                  </a:lnTo>
                  <a:lnTo>
                    <a:pt x="126" y="228"/>
                  </a:lnTo>
                  <a:lnTo>
                    <a:pt x="126" y="222"/>
                  </a:lnTo>
                  <a:lnTo>
                    <a:pt x="126" y="198"/>
                  </a:lnTo>
                  <a:lnTo>
                    <a:pt x="126" y="186"/>
                  </a:lnTo>
                  <a:lnTo>
                    <a:pt x="132" y="174"/>
                  </a:lnTo>
                  <a:lnTo>
                    <a:pt x="132" y="162"/>
                  </a:lnTo>
                  <a:lnTo>
                    <a:pt x="114" y="144"/>
                  </a:lnTo>
                  <a:lnTo>
                    <a:pt x="108" y="138"/>
                  </a:lnTo>
                  <a:lnTo>
                    <a:pt x="96" y="120"/>
                  </a:lnTo>
                  <a:lnTo>
                    <a:pt x="90" y="114"/>
                  </a:lnTo>
                  <a:lnTo>
                    <a:pt x="84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0" y="96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84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44" y="18"/>
                  </a:lnTo>
                  <a:lnTo>
                    <a:pt x="150" y="12"/>
                  </a:lnTo>
                  <a:lnTo>
                    <a:pt x="150" y="18"/>
                  </a:lnTo>
                  <a:lnTo>
                    <a:pt x="150" y="12"/>
                  </a:lnTo>
                  <a:lnTo>
                    <a:pt x="156" y="12"/>
                  </a:lnTo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90" name="Freeform 69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5092" y="2178"/>
              <a:ext cx="226" cy="443"/>
            </a:xfrm>
            <a:custGeom>
              <a:avLst/>
              <a:gdLst>
                <a:gd name="T0" fmla="*/ 4 w 366"/>
                <a:gd name="T1" fmla="*/ 27 h 684"/>
                <a:gd name="T2" fmla="*/ 2 w 366"/>
                <a:gd name="T3" fmla="*/ 27 h 684"/>
                <a:gd name="T4" fmla="*/ 2 w 366"/>
                <a:gd name="T5" fmla="*/ 24 h 684"/>
                <a:gd name="T6" fmla="*/ 2 w 366"/>
                <a:gd name="T7" fmla="*/ 21 h 684"/>
                <a:gd name="T8" fmla="*/ 2 w 366"/>
                <a:gd name="T9" fmla="*/ 19 h 684"/>
                <a:gd name="T10" fmla="*/ 2 w 366"/>
                <a:gd name="T11" fmla="*/ 18 h 684"/>
                <a:gd name="T12" fmla="*/ 4 w 366"/>
                <a:gd name="T13" fmla="*/ 17 h 684"/>
                <a:gd name="T14" fmla="*/ 6 w 366"/>
                <a:gd name="T15" fmla="*/ 16 h 684"/>
                <a:gd name="T16" fmla="*/ 6 w 366"/>
                <a:gd name="T17" fmla="*/ 15 h 684"/>
                <a:gd name="T18" fmla="*/ 6 w 366"/>
                <a:gd name="T19" fmla="*/ 16 h 684"/>
                <a:gd name="T20" fmla="*/ 7 w 366"/>
                <a:gd name="T21" fmla="*/ 14 h 684"/>
                <a:gd name="T22" fmla="*/ 9 w 366"/>
                <a:gd name="T23" fmla="*/ 14 h 684"/>
                <a:gd name="T24" fmla="*/ 9 w 366"/>
                <a:gd name="T25" fmla="*/ 15 h 684"/>
                <a:gd name="T26" fmla="*/ 9 w 366"/>
                <a:gd name="T27" fmla="*/ 14 h 684"/>
                <a:gd name="T28" fmla="*/ 10 w 366"/>
                <a:gd name="T29" fmla="*/ 12 h 684"/>
                <a:gd name="T30" fmla="*/ 10 w 366"/>
                <a:gd name="T31" fmla="*/ 12 h 684"/>
                <a:gd name="T32" fmla="*/ 12 w 366"/>
                <a:gd name="T33" fmla="*/ 11 h 684"/>
                <a:gd name="T34" fmla="*/ 12 w 366"/>
                <a:gd name="T35" fmla="*/ 10 h 684"/>
                <a:gd name="T36" fmla="*/ 12 w 366"/>
                <a:gd name="T37" fmla="*/ 10 h 684"/>
                <a:gd name="T38" fmla="*/ 12 w 366"/>
                <a:gd name="T39" fmla="*/ 9 h 684"/>
                <a:gd name="T40" fmla="*/ 14 w 366"/>
                <a:gd name="T41" fmla="*/ 9 h 684"/>
                <a:gd name="T42" fmla="*/ 14 w 366"/>
                <a:gd name="T43" fmla="*/ 8 h 684"/>
                <a:gd name="T44" fmla="*/ 14 w 366"/>
                <a:gd name="T45" fmla="*/ 6 h 684"/>
                <a:gd name="T46" fmla="*/ 14 w 366"/>
                <a:gd name="T47" fmla="*/ 6 h 684"/>
                <a:gd name="T48" fmla="*/ 15 w 366"/>
                <a:gd name="T49" fmla="*/ 5 h 684"/>
                <a:gd name="T50" fmla="*/ 16 w 366"/>
                <a:gd name="T51" fmla="*/ 4 h 684"/>
                <a:gd name="T52" fmla="*/ 15 w 366"/>
                <a:gd name="T53" fmla="*/ 2 h 684"/>
                <a:gd name="T54" fmla="*/ 17 w 366"/>
                <a:gd name="T55" fmla="*/ 1 h 684"/>
                <a:gd name="T56" fmla="*/ 17 w 366"/>
                <a:gd name="T57" fmla="*/ 0 h 684"/>
                <a:gd name="T58" fmla="*/ 17 w 366"/>
                <a:gd name="T59" fmla="*/ 1 h 684"/>
                <a:gd name="T60" fmla="*/ 17 w 366"/>
                <a:gd name="T61" fmla="*/ 1 h 684"/>
                <a:gd name="T62" fmla="*/ 18 w 366"/>
                <a:gd name="T63" fmla="*/ 3 h 684"/>
                <a:gd name="T64" fmla="*/ 19 w 366"/>
                <a:gd name="T65" fmla="*/ 4 h 684"/>
                <a:gd name="T66" fmla="*/ 19 w 366"/>
                <a:gd name="T67" fmla="*/ 8 h 684"/>
                <a:gd name="T68" fmla="*/ 19 w 366"/>
                <a:gd name="T69" fmla="*/ 11 h 684"/>
                <a:gd name="T70" fmla="*/ 20 w 366"/>
                <a:gd name="T71" fmla="*/ 14 h 684"/>
                <a:gd name="T72" fmla="*/ 19 w 366"/>
                <a:gd name="T73" fmla="*/ 14 h 684"/>
                <a:gd name="T74" fmla="*/ 18 w 366"/>
                <a:gd name="T75" fmla="*/ 14 h 684"/>
                <a:gd name="T76" fmla="*/ 19 w 366"/>
                <a:gd name="T77" fmla="*/ 16 h 684"/>
                <a:gd name="T78" fmla="*/ 19 w 366"/>
                <a:gd name="T79" fmla="*/ 18 h 684"/>
                <a:gd name="T80" fmla="*/ 17 w 366"/>
                <a:gd name="T81" fmla="*/ 21 h 684"/>
                <a:gd name="T82" fmla="*/ 17 w 366"/>
                <a:gd name="T83" fmla="*/ 25 h 684"/>
                <a:gd name="T84" fmla="*/ 15 w 366"/>
                <a:gd name="T85" fmla="*/ 30 h 684"/>
                <a:gd name="T86" fmla="*/ 14 w 366"/>
                <a:gd name="T87" fmla="*/ 35 h 684"/>
                <a:gd name="T88" fmla="*/ 13 w 366"/>
                <a:gd name="T89" fmla="*/ 40 h 684"/>
                <a:gd name="T90" fmla="*/ 12 w 366"/>
                <a:gd name="T91" fmla="*/ 43 h 684"/>
                <a:gd name="T92" fmla="*/ 12 w 366"/>
                <a:gd name="T93" fmla="*/ 47 h 684"/>
                <a:gd name="T94" fmla="*/ 10 w 366"/>
                <a:gd name="T95" fmla="*/ 48 h 684"/>
                <a:gd name="T96" fmla="*/ 7 w 366"/>
                <a:gd name="T97" fmla="*/ 50 h 684"/>
                <a:gd name="T98" fmla="*/ 6 w 366"/>
                <a:gd name="T99" fmla="*/ 50 h 684"/>
                <a:gd name="T100" fmla="*/ 2 w 366"/>
                <a:gd name="T101" fmla="*/ 48 h 684"/>
                <a:gd name="T102" fmla="*/ 1 w 366"/>
                <a:gd name="T103" fmla="*/ 46 h 684"/>
                <a:gd name="T104" fmla="*/ 1 w 366"/>
                <a:gd name="T105" fmla="*/ 42 h 684"/>
                <a:gd name="T106" fmla="*/ 1 w 366"/>
                <a:gd name="T107" fmla="*/ 40 h 684"/>
                <a:gd name="T108" fmla="*/ 1 w 366"/>
                <a:gd name="T109" fmla="*/ 36 h 684"/>
                <a:gd name="T110" fmla="*/ 1 w 366"/>
                <a:gd name="T111" fmla="*/ 35 h 684"/>
                <a:gd name="T112" fmla="*/ 1 w 366"/>
                <a:gd name="T113" fmla="*/ 35 h 684"/>
                <a:gd name="T114" fmla="*/ 2 w 366"/>
                <a:gd name="T115" fmla="*/ 34 h 684"/>
                <a:gd name="T116" fmla="*/ 2 w 366"/>
                <a:gd name="T117" fmla="*/ 33 h 684"/>
                <a:gd name="T118" fmla="*/ 4 w 366"/>
                <a:gd name="T119" fmla="*/ 30 h 6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66" h="684">
                  <a:moveTo>
                    <a:pt x="60" y="390"/>
                  </a:moveTo>
                  <a:lnTo>
                    <a:pt x="60" y="384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72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54" y="366"/>
                  </a:lnTo>
                  <a:lnTo>
                    <a:pt x="54" y="360"/>
                  </a:lnTo>
                  <a:lnTo>
                    <a:pt x="60" y="360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2" y="312"/>
                  </a:lnTo>
                  <a:lnTo>
                    <a:pt x="42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36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42" y="270"/>
                  </a:lnTo>
                  <a:lnTo>
                    <a:pt x="48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0" y="234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72" y="216"/>
                  </a:lnTo>
                  <a:lnTo>
                    <a:pt x="78" y="216"/>
                  </a:lnTo>
                  <a:lnTo>
                    <a:pt x="84" y="216"/>
                  </a:lnTo>
                  <a:lnTo>
                    <a:pt x="90" y="216"/>
                  </a:lnTo>
                  <a:lnTo>
                    <a:pt x="90" y="210"/>
                  </a:lnTo>
                  <a:lnTo>
                    <a:pt x="96" y="210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32" y="192"/>
                  </a:lnTo>
                  <a:lnTo>
                    <a:pt x="132" y="198"/>
                  </a:lnTo>
                  <a:lnTo>
                    <a:pt x="132" y="192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44" y="198"/>
                  </a:lnTo>
                  <a:lnTo>
                    <a:pt x="144" y="192"/>
                  </a:lnTo>
                  <a:lnTo>
                    <a:pt x="144" y="198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44" y="192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56" y="198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80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74"/>
                  </a:lnTo>
                  <a:lnTo>
                    <a:pt x="198" y="174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04" y="150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16" y="144"/>
                  </a:lnTo>
                  <a:lnTo>
                    <a:pt x="216" y="150"/>
                  </a:lnTo>
                  <a:lnTo>
                    <a:pt x="210" y="156"/>
                  </a:lnTo>
                  <a:lnTo>
                    <a:pt x="210" y="162"/>
                  </a:lnTo>
                  <a:lnTo>
                    <a:pt x="216" y="162"/>
                  </a:lnTo>
                  <a:lnTo>
                    <a:pt x="216" y="156"/>
                  </a:lnTo>
                  <a:lnTo>
                    <a:pt x="216" y="150"/>
                  </a:lnTo>
                  <a:lnTo>
                    <a:pt x="222" y="150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40" y="114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40" y="126"/>
                  </a:lnTo>
                  <a:lnTo>
                    <a:pt x="240" y="120"/>
                  </a:lnTo>
                  <a:lnTo>
                    <a:pt x="240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08"/>
                  </a:lnTo>
                  <a:lnTo>
                    <a:pt x="234" y="108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34" y="102"/>
                  </a:lnTo>
                  <a:lnTo>
                    <a:pt x="234" y="96"/>
                  </a:lnTo>
                  <a:lnTo>
                    <a:pt x="234" y="90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2" y="96"/>
                  </a:lnTo>
                  <a:lnTo>
                    <a:pt x="258" y="96"/>
                  </a:lnTo>
                  <a:lnTo>
                    <a:pt x="258" y="90"/>
                  </a:lnTo>
                  <a:lnTo>
                    <a:pt x="258" y="84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78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42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0"/>
                  </a:lnTo>
                  <a:lnTo>
                    <a:pt x="288" y="24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294" y="18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6" y="54"/>
                  </a:lnTo>
                  <a:lnTo>
                    <a:pt x="336" y="60"/>
                  </a:lnTo>
                  <a:lnTo>
                    <a:pt x="336" y="66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8" y="90"/>
                  </a:lnTo>
                  <a:lnTo>
                    <a:pt x="348" y="96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60" y="156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74"/>
                  </a:lnTo>
                  <a:lnTo>
                    <a:pt x="360" y="180"/>
                  </a:lnTo>
                  <a:lnTo>
                    <a:pt x="360" y="186"/>
                  </a:lnTo>
                  <a:lnTo>
                    <a:pt x="354" y="186"/>
                  </a:lnTo>
                  <a:lnTo>
                    <a:pt x="360" y="192"/>
                  </a:lnTo>
                  <a:lnTo>
                    <a:pt x="354" y="192"/>
                  </a:lnTo>
                  <a:lnTo>
                    <a:pt x="354" y="198"/>
                  </a:lnTo>
                  <a:lnTo>
                    <a:pt x="348" y="204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6" y="180"/>
                  </a:lnTo>
                  <a:lnTo>
                    <a:pt x="336" y="174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24" y="174"/>
                  </a:lnTo>
                  <a:lnTo>
                    <a:pt x="330" y="174"/>
                  </a:lnTo>
                  <a:lnTo>
                    <a:pt x="324" y="174"/>
                  </a:lnTo>
                  <a:lnTo>
                    <a:pt x="324" y="180"/>
                  </a:lnTo>
                  <a:lnTo>
                    <a:pt x="318" y="180"/>
                  </a:lnTo>
                  <a:lnTo>
                    <a:pt x="318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204"/>
                  </a:lnTo>
                  <a:lnTo>
                    <a:pt x="324" y="210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22"/>
                  </a:lnTo>
                  <a:lnTo>
                    <a:pt x="330" y="228"/>
                  </a:lnTo>
                  <a:lnTo>
                    <a:pt x="330" y="234"/>
                  </a:lnTo>
                  <a:lnTo>
                    <a:pt x="330" y="240"/>
                  </a:lnTo>
                  <a:lnTo>
                    <a:pt x="324" y="240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24" y="246"/>
                  </a:lnTo>
                  <a:lnTo>
                    <a:pt x="318" y="252"/>
                  </a:lnTo>
                  <a:lnTo>
                    <a:pt x="318" y="258"/>
                  </a:lnTo>
                  <a:lnTo>
                    <a:pt x="312" y="258"/>
                  </a:lnTo>
                  <a:lnTo>
                    <a:pt x="312" y="264"/>
                  </a:lnTo>
                  <a:lnTo>
                    <a:pt x="312" y="270"/>
                  </a:lnTo>
                  <a:lnTo>
                    <a:pt x="312" y="276"/>
                  </a:lnTo>
                  <a:lnTo>
                    <a:pt x="312" y="282"/>
                  </a:lnTo>
                  <a:lnTo>
                    <a:pt x="312" y="288"/>
                  </a:lnTo>
                  <a:lnTo>
                    <a:pt x="318" y="288"/>
                  </a:lnTo>
                  <a:lnTo>
                    <a:pt x="312" y="294"/>
                  </a:lnTo>
                  <a:lnTo>
                    <a:pt x="312" y="300"/>
                  </a:lnTo>
                  <a:lnTo>
                    <a:pt x="312" y="306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06" y="324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300" y="342"/>
                  </a:lnTo>
                  <a:lnTo>
                    <a:pt x="288" y="366"/>
                  </a:lnTo>
                  <a:lnTo>
                    <a:pt x="288" y="372"/>
                  </a:lnTo>
                  <a:lnTo>
                    <a:pt x="288" y="378"/>
                  </a:lnTo>
                  <a:lnTo>
                    <a:pt x="282" y="384"/>
                  </a:lnTo>
                  <a:lnTo>
                    <a:pt x="282" y="396"/>
                  </a:lnTo>
                  <a:lnTo>
                    <a:pt x="276" y="402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70" y="420"/>
                  </a:lnTo>
                  <a:lnTo>
                    <a:pt x="270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58" y="462"/>
                  </a:lnTo>
                  <a:lnTo>
                    <a:pt x="258" y="468"/>
                  </a:lnTo>
                  <a:lnTo>
                    <a:pt x="258" y="474"/>
                  </a:lnTo>
                  <a:lnTo>
                    <a:pt x="252" y="480"/>
                  </a:lnTo>
                  <a:lnTo>
                    <a:pt x="252" y="486"/>
                  </a:lnTo>
                  <a:lnTo>
                    <a:pt x="252" y="492"/>
                  </a:lnTo>
                  <a:lnTo>
                    <a:pt x="246" y="498"/>
                  </a:lnTo>
                  <a:lnTo>
                    <a:pt x="246" y="504"/>
                  </a:lnTo>
                  <a:lnTo>
                    <a:pt x="240" y="516"/>
                  </a:lnTo>
                  <a:lnTo>
                    <a:pt x="234" y="522"/>
                  </a:lnTo>
                  <a:lnTo>
                    <a:pt x="234" y="528"/>
                  </a:lnTo>
                  <a:lnTo>
                    <a:pt x="234" y="534"/>
                  </a:lnTo>
                  <a:lnTo>
                    <a:pt x="234" y="540"/>
                  </a:lnTo>
                  <a:lnTo>
                    <a:pt x="234" y="546"/>
                  </a:lnTo>
                  <a:lnTo>
                    <a:pt x="228" y="552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76"/>
                  </a:lnTo>
                  <a:lnTo>
                    <a:pt x="222" y="582"/>
                  </a:lnTo>
                  <a:lnTo>
                    <a:pt x="222" y="588"/>
                  </a:lnTo>
                  <a:lnTo>
                    <a:pt x="222" y="594"/>
                  </a:lnTo>
                  <a:lnTo>
                    <a:pt x="216" y="594"/>
                  </a:lnTo>
                  <a:lnTo>
                    <a:pt x="216" y="606"/>
                  </a:lnTo>
                  <a:lnTo>
                    <a:pt x="210" y="612"/>
                  </a:lnTo>
                  <a:lnTo>
                    <a:pt x="210" y="618"/>
                  </a:lnTo>
                  <a:lnTo>
                    <a:pt x="204" y="618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8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48"/>
                  </a:lnTo>
                  <a:lnTo>
                    <a:pt x="192" y="654"/>
                  </a:lnTo>
                  <a:lnTo>
                    <a:pt x="186" y="654"/>
                  </a:lnTo>
                  <a:lnTo>
                    <a:pt x="180" y="654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0"/>
                  </a:lnTo>
                  <a:lnTo>
                    <a:pt x="150" y="666"/>
                  </a:lnTo>
                  <a:lnTo>
                    <a:pt x="144" y="666"/>
                  </a:lnTo>
                  <a:lnTo>
                    <a:pt x="138" y="666"/>
                  </a:lnTo>
                  <a:lnTo>
                    <a:pt x="132" y="672"/>
                  </a:lnTo>
                  <a:lnTo>
                    <a:pt x="126" y="672"/>
                  </a:lnTo>
                  <a:lnTo>
                    <a:pt x="126" y="678"/>
                  </a:lnTo>
                  <a:lnTo>
                    <a:pt x="120" y="678"/>
                  </a:lnTo>
                  <a:lnTo>
                    <a:pt x="114" y="678"/>
                  </a:lnTo>
                  <a:lnTo>
                    <a:pt x="108" y="678"/>
                  </a:lnTo>
                  <a:lnTo>
                    <a:pt x="102" y="678"/>
                  </a:lnTo>
                  <a:lnTo>
                    <a:pt x="102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84" y="672"/>
                  </a:lnTo>
                  <a:lnTo>
                    <a:pt x="78" y="666"/>
                  </a:lnTo>
                  <a:lnTo>
                    <a:pt x="66" y="666"/>
                  </a:lnTo>
                  <a:lnTo>
                    <a:pt x="60" y="666"/>
                  </a:lnTo>
                  <a:lnTo>
                    <a:pt x="60" y="660"/>
                  </a:lnTo>
                  <a:lnTo>
                    <a:pt x="54" y="660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48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30" y="624"/>
                  </a:lnTo>
                  <a:lnTo>
                    <a:pt x="24" y="624"/>
                  </a:lnTo>
                  <a:lnTo>
                    <a:pt x="24" y="618"/>
                  </a:lnTo>
                  <a:lnTo>
                    <a:pt x="24" y="612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24" y="594"/>
                  </a:lnTo>
                  <a:lnTo>
                    <a:pt x="24" y="588"/>
                  </a:lnTo>
                  <a:lnTo>
                    <a:pt x="24" y="582"/>
                  </a:lnTo>
                  <a:lnTo>
                    <a:pt x="30" y="582"/>
                  </a:lnTo>
                  <a:lnTo>
                    <a:pt x="30" y="576"/>
                  </a:lnTo>
                  <a:lnTo>
                    <a:pt x="30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24" y="558"/>
                  </a:lnTo>
                  <a:lnTo>
                    <a:pt x="18" y="558"/>
                  </a:lnTo>
                  <a:lnTo>
                    <a:pt x="18" y="552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0"/>
                  </a:lnTo>
                  <a:lnTo>
                    <a:pt x="6" y="534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6" y="492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0" y="462"/>
                  </a:lnTo>
                  <a:lnTo>
                    <a:pt x="36" y="462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14"/>
                  </a:lnTo>
                  <a:lnTo>
                    <a:pt x="60" y="408"/>
                  </a:lnTo>
                  <a:lnTo>
                    <a:pt x="66" y="408"/>
                  </a:lnTo>
                  <a:lnTo>
                    <a:pt x="66" y="402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91" name="Freeform 70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4769" y="2096"/>
              <a:ext cx="100" cy="249"/>
            </a:xfrm>
            <a:custGeom>
              <a:avLst/>
              <a:gdLst>
                <a:gd name="T0" fmla="*/ 1 w 162"/>
                <a:gd name="T1" fmla="*/ 1 h 384"/>
                <a:gd name="T2" fmla="*/ 2 w 162"/>
                <a:gd name="T3" fmla="*/ 1 h 384"/>
                <a:gd name="T4" fmla="*/ 4 w 162"/>
                <a:gd name="T5" fmla="*/ 1 h 384"/>
                <a:gd name="T6" fmla="*/ 4 w 162"/>
                <a:gd name="T7" fmla="*/ 1 h 384"/>
                <a:gd name="T8" fmla="*/ 4 w 162"/>
                <a:gd name="T9" fmla="*/ 1 h 384"/>
                <a:gd name="T10" fmla="*/ 6 w 162"/>
                <a:gd name="T11" fmla="*/ 3 h 384"/>
                <a:gd name="T12" fmla="*/ 6 w 162"/>
                <a:gd name="T13" fmla="*/ 4 h 384"/>
                <a:gd name="T14" fmla="*/ 6 w 162"/>
                <a:gd name="T15" fmla="*/ 6 h 384"/>
                <a:gd name="T16" fmla="*/ 6 w 162"/>
                <a:gd name="T17" fmla="*/ 7 h 384"/>
                <a:gd name="T18" fmla="*/ 6 w 162"/>
                <a:gd name="T19" fmla="*/ 8 h 384"/>
                <a:gd name="T20" fmla="*/ 6 w 162"/>
                <a:gd name="T21" fmla="*/ 10 h 384"/>
                <a:gd name="T22" fmla="*/ 6 w 162"/>
                <a:gd name="T23" fmla="*/ 12 h 384"/>
                <a:gd name="T24" fmla="*/ 6 w 162"/>
                <a:gd name="T25" fmla="*/ 14 h 384"/>
                <a:gd name="T26" fmla="*/ 6 w 162"/>
                <a:gd name="T27" fmla="*/ 15 h 384"/>
                <a:gd name="T28" fmla="*/ 7 w 162"/>
                <a:gd name="T29" fmla="*/ 16 h 384"/>
                <a:gd name="T30" fmla="*/ 9 w 162"/>
                <a:gd name="T31" fmla="*/ 21 h 384"/>
                <a:gd name="T32" fmla="*/ 9 w 162"/>
                <a:gd name="T33" fmla="*/ 25 h 384"/>
                <a:gd name="T34" fmla="*/ 7 w 162"/>
                <a:gd name="T35" fmla="*/ 25 h 384"/>
                <a:gd name="T36" fmla="*/ 7 w 162"/>
                <a:gd name="T37" fmla="*/ 27 h 384"/>
                <a:gd name="T38" fmla="*/ 7 w 162"/>
                <a:gd name="T39" fmla="*/ 27 h 384"/>
                <a:gd name="T40" fmla="*/ 6 w 162"/>
                <a:gd name="T41" fmla="*/ 28 h 384"/>
                <a:gd name="T42" fmla="*/ 6 w 162"/>
                <a:gd name="T43" fmla="*/ 27 h 384"/>
                <a:gd name="T44" fmla="*/ 6 w 162"/>
                <a:gd name="T45" fmla="*/ 27 h 384"/>
                <a:gd name="T46" fmla="*/ 6 w 162"/>
                <a:gd name="T47" fmla="*/ 26 h 384"/>
                <a:gd name="T48" fmla="*/ 4 w 162"/>
                <a:gd name="T49" fmla="*/ 25 h 384"/>
                <a:gd name="T50" fmla="*/ 4 w 162"/>
                <a:gd name="T51" fmla="*/ 25 h 384"/>
                <a:gd name="T52" fmla="*/ 4 w 162"/>
                <a:gd name="T53" fmla="*/ 23 h 384"/>
                <a:gd name="T54" fmla="*/ 6 w 162"/>
                <a:gd name="T55" fmla="*/ 22 h 384"/>
                <a:gd name="T56" fmla="*/ 6 w 162"/>
                <a:gd name="T57" fmla="*/ 22 h 384"/>
                <a:gd name="T58" fmla="*/ 6 w 162"/>
                <a:gd name="T59" fmla="*/ 19 h 384"/>
                <a:gd name="T60" fmla="*/ 6 w 162"/>
                <a:gd name="T61" fmla="*/ 19 h 384"/>
                <a:gd name="T62" fmla="*/ 4 w 162"/>
                <a:gd name="T63" fmla="*/ 19 h 384"/>
                <a:gd name="T64" fmla="*/ 2 w 162"/>
                <a:gd name="T65" fmla="*/ 19 h 384"/>
                <a:gd name="T66" fmla="*/ 2 w 162"/>
                <a:gd name="T67" fmla="*/ 18 h 384"/>
                <a:gd name="T68" fmla="*/ 1 w 162"/>
                <a:gd name="T69" fmla="*/ 18 h 384"/>
                <a:gd name="T70" fmla="*/ 1 w 162"/>
                <a:gd name="T71" fmla="*/ 17 h 384"/>
                <a:gd name="T72" fmla="*/ 1 w 162"/>
                <a:gd name="T73" fmla="*/ 16 h 384"/>
                <a:gd name="T74" fmla="*/ 1 w 162"/>
                <a:gd name="T75" fmla="*/ 16 h 384"/>
                <a:gd name="T76" fmla="*/ 0 w 162"/>
                <a:gd name="T77" fmla="*/ 16 h 384"/>
                <a:gd name="T78" fmla="*/ 1 w 162"/>
                <a:gd name="T79" fmla="*/ 14 h 384"/>
                <a:gd name="T80" fmla="*/ 1 w 162"/>
                <a:gd name="T81" fmla="*/ 12 h 384"/>
                <a:gd name="T82" fmla="*/ 1 w 162"/>
                <a:gd name="T83" fmla="*/ 12 h 384"/>
                <a:gd name="T84" fmla="*/ 2 w 162"/>
                <a:gd name="T85" fmla="*/ 12 h 384"/>
                <a:gd name="T86" fmla="*/ 2 w 162"/>
                <a:gd name="T87" fmla="*/ 10 h 384"/>
                <a:gd name="T88" fmla="*/ 1 w 162"/>
                <a:gd name="T89" fmla="*/ 9 h 384"/>
                <a:gd name="T90" fmla="*/ 1 w 162"/>
                <a:gd name="T91" fmla="*/ 8 h 384"/>
                <a:gd name="T92" fmla="*/ 1 w 162"/>
                <a:gd name="T93" fmla="*/ 7 h 384"/>
                <a:gd name="T94" fmla="*/ 1 w 162"/>
                <a:gd name="T95" fmla="*/ 6 h 384"/>
                <a:gd name="T96" fmla="*/ 2 w 162"/>
                <a:gd name="T97" fmla="*/ 5 h 384"/>
                <a:gd name="T98" fmla="*/ 2 w 162"/>
                <a:gd name="T99" fmla="*/ 4 h 384"/>
                <a:gd name="T100" fmla="*/ 2 w 162"/>
                <a:gd name="T101" fmla="*/ 3 h 384"/>
                <a:gd name="T102" fmla="*/ 1 w 162"/>
                <a:gd name="T103" fmla="*/ 2 h 384"/>
                <a:gd name="T104" fmla="*/ 1 w 162"/>
                <a:gd name="T105" fmla="*/ 1 h 384"/>
                <a:gd name="T106" fmla="*/ 1 w 162"/>
                <a:gd name="T107" fmla="*/ 1 h 3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62" h="384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90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08" y="102"/>
                  </a:lnTo>
                  <a:lnTo>
                    <a:pt x="114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6" y="120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90" y="150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0" y="198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04"/>
                  </a:lnTo>
                  <a:lnTo>
                    <a:pt x="114" y="210"/>
                  </a:lnTo>
                  <a:lnTo>
                    <a:pt x="120" y="216"/>
                  </a:lnTo>
                  <a:lnTo>
                    <a:pt x="126" y="222"/>
                  </a:lnTo>
                  <a:lnTo>
                    <a:pt x="138" y="240"/>
                  </a:lnTo>
                  <a:lnTo>
                    <a:pt x="144" y="246"/>
                  </a:lnTo>
                  <a:lnTo>
                    <a:pt x="162" y="264"/>
                  </a:lnTo>
                  <a:lnTo>
                    <a:pt x="162" y="276"/>
                  </a:lnTo>
                  <a:lnTo>
                    <a:pt x="156" y="288"/>
                  </a:lnTo>
                  <a:lnTo>
                    <a:pt x="156" y="300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56" y="336"/>
                  </a:lnTo>
                  <a:lnTo>
                    <a:pt x="150" y="336"/>
                  </a:lnTo>
                  <a:lnTo>
                    <a:pt x="144" y="336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42"/>
                  </a:lnTo>
                  <a:lnTo>
                    <a:pt x="132" y="348"/>
                  </a:lnTo>
                  <a:lnTo>
                    <a:pt x="132" y="354"/>
                  </a:lnTo>
                  <a:lnTo>
                    <a:pt x="126" y="354"/>
                  </a:lnTo>
                  <a:lnTo>
                    <a:pt x="126" y="360"/>
                  </a:lnTo>
                  <a:lnTo>
                    <a:pt x="126" y="366"/>
                  </a:lnTo>
                  <a:lnTo>
                    <a:pt x="132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32" y="384"/>
                  </a:lnTo>
                  <a:lnTo>
                    <a:pt x="120" y="384"/>
                  </a:lnTo>
                  <a:lnTo>
                    <a:pt x="120" y="378"/>
                  </a:lnTo>
                  <a:lnTo>
                    <a:pt x="126" y="378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14" y="366"/>
                  </a:lnTo>
                  <a:lnTo>
                    <a:pt x="108" y="366"/>
                  </a:lnTo>
                  <a:lnTo>
                    <a:pt x="108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96" y="354"/>
                  </a:lnTo>
                  <a:lnTo>
                    <a:pt x="96" y="348"/>
                  </a:lnTo>
                  <a:lnTo>
                    <a:pt x="90" y="342"/>
                  </a:lnTo>
                  <a:lnTo>
                    <a:pt x="90" y="348"/>
                  </a:lnTo>
                  <a:lnTo>
                    <a:pt x="90" y="342"/>
                  </a:lnTo>
                  <a:lnTo>
                    <a:pt x="84" y="342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0" y="330"/>
                  </a:lnTo>
                  <a:lnTo>
                    <a:pt x="84" y="330"/>
                  </a:lnTo>
                  <a:lnTo>
                    <a:pt x="84" y="324"/>
                  </a:lnTo>
                  <a:lnTo>
                    <a:pt x="78" y="324"/>
                  </a:lnTo>
                  <a:lnTo>
                    <a:pt x="78" y="318"/>
                  </a:lnTo>
                  <a:lnTo>
                    <a:pt x="84" y="318"/>
                  </a:lnTo>
                  <a:lnTo>
                    <a:pt x="84" y="312"/>
                  </a:lnTo>
                  <a:lnTo>
                    <a:pt x="90" y="312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6" y="276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8" y="252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36" y="246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30" y="234"/>
                  </a:lnTo>
                  <a:lnTo>
                    <a:pt x="24" y="228"/>
                  </a:lnTo>
                  <a:lnTo>
                    <a:pt x="18" y="228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12" y="216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grpSp>
          <p:nvGrpSpPr>
            <p:cNvPr id="14392" name="Group 71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4665" y="1828"/>
              <a:ext cx="341" cy="346"/>
              <a:chOff x="4697" y="2040"/>
              <a:chExt cx="341" cy="346"/>
            </a:xfrm>
          </p:grpSpPr>
          <p:sp>
            <p:nvSpPr>
              <p:cNvPr id="14450" name="Freeform 72"/>
              <p:cNvSpPr>
                <a:spLocks noChangeAspect="1"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4697" y="2040"/>
                <a:ext cx="341" cy="346"/>
              </a:xfrm>
              <a:custGeom>
                <a:avLst/>
                <a:gdLst>
                  <a:gd name="T0" fmla="*/ 1 w 552"/>
                  <a:gd name="T1" fmla="*/ 12 h 534"/>
                  <a:gd name="T2" fmla="*/ 2 w 552"/>
                  <a:gd name="T3" fmla="*/ 11 h 534"/>
                  <a:gd name="T4" fmla="*/ 4 w 552"/>
                  <a:gd name="T5" fmla="*/ 9 h 534"/>
                  <a:gd name="T6" fmla="*/ 4 w 552"/>
                  <a:gd name="T7" fmla="*/ 8 h 534"/>
                  <a:gd name="T8" fmla="*/ 4 w 552"/>
                  <a:gd name="T9" fmla="*/ 6 h 534"/>
                  <a:gd name="T10" fmla="*/ 4 w 552"/>
                  <a:gd name="T11" fmla="*/ 5 h 534"/>
                  <a:gd name="T12" fmla="*/ 4 w 552"/>
                  <a:gd name="T13" fmla="*/ 4 h 534"/>
                  <a:gd name="T14" fmla="*/ 4 w 552"/>
                  <a:gd name="T15" fmla="*/ 3 h 534"/>
                  <a:gd name="T16" fmla="*/ 4 w 552"/>
                  <a:gd name="T17" fmla="*/ 1 h 534"/>
                  <a:gd name="T18" fmla="*/ 6 w 552"/>
                  <a:gd name="T19" fmla="*/ 0 h 534"/>
                  <a:gd name="T20" fmla="*/ 16 w 552"/>
                  <a:gd name="T21" fmla="*/ 2 h 534"/>
                  <a:gd name="T22" fmla="*/ 23 w 552"/>
                  <a:gd name="T23" fmla="*/ 7 h 534"/>
                  <a:gd name="T24" fmla="*/ 23 w 552"/>
                  <a:gd name="T25" fmla="*/ 10 h 534"/>
                  <a:gd name="T26" fmla="*/ 27 w 552"/>
                  <a:gd name="T27" fmla="*/ 14 h 534"/>
                  <a:gd name="T28" fmla="*/ 27 w 552"/>
                  <a:gd name="T29" fmla="*/ 15 h 534"/>
                  <a:gd name="T30" fmla="*/ 27 w 552"/>
                  <a:gd name="T31" fmla="*/ 16 h 534"/>
                  <a:gd name="T32" fmla="*/ 27 w 552"/>
                  <a:gd name="T33" fmla="*/ 17 h 534"/>
                  <a:gd name="T34" fmla="*/ 27 w 552"/>
                  <a:gd name="T35" fmla="*/ 19 h 534"/>
                  <a:gd name="T36" fmla="*/ 27 w 552"/>
                  <a:gd name="T37" fmla="*/ 19 h 534"/>
                  <a:gd name="T38" fmla="*/ 27 w 552"/>
                  <a:gd name="T39" fmla="*/ 21 h 534"/>
                  <a:gd name="T40" fmla="*/ 28 w 552"/>
                  <a:gd name="T41" fmla="*/ 22 h 534"/>
                  <a:gd name="T42" fmla="*/ 27 w 552"/>
                  <a:gd name="T43" fmla="*/ 23 h 534"/>
                  <a:gd name="T44" fmla="*/ 27 w 552"/>
                  <a:gd name="T45" fmla="*/ 25 h 534"/>
                  <a:gd name="T46" fmla="*/ 27 w 552"/>
                  <a:gd name="T47" fmla="*/ 26 h 534"/>
                  <a:gd name="T48" fmla="*/ 27 w 552"/>
                  <a:gd name="T49" fmla="*/ 28 h 534"/>
                  <a:gd name="T50" fmla="*/ 28 w 552"/>
                  <a:gd name="T51" fmla="*/ 29 h 534"/>
                  <a:gd name="T52" fmla="*/ 28 w 552"/>
                  <a:gd name="T53" fmla="*/ 30 h 534"/>
                  <a:gd name="T54" fmla="*/ 28 w 552"/>
                  <a:gd name="T55" fmla="*/ 30 h 534"/>
                  <a:gd name="T56" fmla="*/ 28 w 552"/>
                  <a:gd name="T57" fmla="*/ 32 h 534"/>
                  <a:gd name="T58" fmla="*/ 28 w 552"/>
                  <a:gd name="T59" fmla="*/ 33 h 534"/>
                  <a:gd name="T60" fmla="*/ 30 w 552"/>
                  <a:gd name="T61" fmla="*/ 34 h 534"/>
                  <a:gd name="T62" fmla="*/ 30 w 552"/>
                  <a:gd name="T63" fmla="*/ 34 h 534"/>
                  <a:gd name="T64" fmla="*/ 30 w 552"/>
                  <a:gd name="T65" fmla="*/ 34 h 534"/>
                  <a:gd name="T66" fmla="*/ 30 w 552"/>
                  <a:gd name="T67" fmla="*/ 36 h 534"/>
                  <a:gd name="T68" fmla="*/ 27 w 552"/>
                  <a:gd name="T69" fmla="*/ 38 h 534"/>
                  <a:gd name="T70" fmla="*/ 27 w 552"/>
                  <a:gd name="T71" fmla="*/ 38 h 534"/>
                  <a:gd name="T72" fmla="*/ 25 w 552"/>
                  <a:gd name="T73" fmla="*/ 38 h 534"/>
                  <a:gd name="T74" fmla="*/ 23 w 552"/>
                  <a:gd name="T75" fmla="*/ 39 h 534"/>
                  <a:gd name="T76" fmla="*/ 22 w 552"/>
                  <a:gd name="T77" fmla="*/ 39 h 534"/>
                  <a:gd name="T78" fmla="*/ 20 w 552"/>
                  <a:gd name="T79" fmla="*/ 39 h 534"/>
                  <a:gd name="T80" fmla="*/ 20 w 552"/>
                  <a:gd name="T81" fmla="*/ 39 h 534"/>
                  <a:gd name="T82" fmla="*/ 19 w 552"/>
                  <a:gd name="T83" fmla="*/ 39 h 534"/>
                  <a:gd name="T84" fmla="*/ 17 w 552"/>
                  <a:gd name="T85" fmla="*/ 39 h 534"/>
                  <a:gd name="T86" fmla="*/ 17 w 552"/>
                  <a:gd name="T87" fmla="*/ 39 h 534"/>
                  <a:gd name="T88" fmla="*/ 17 w 552"/>
                  <a:gd name="T89" fmla="*/ 39 h 534"/>
                  <a:gd name="T90" fmla="*/ 15 w 552"/>
                  <a:gd name="T91" fmla="*/ 38 h 534"/>
                  <a:gd name="T92" fmla="*/ 14 w 552"/>
                  <a:gd name="T93" fmla="*/ 35 h 534"/>
                  <a:gd name="T94" fmla="*/ 14 w 552"/>
                  <a:gd name="T95" fmla="*/ 33 h 534"/>
                  <a:gd name="T96" fmla="*/ 14 w 552"/>
                  <a:gd name="T97" fmla="*/ 31 h 534"/>
                  <a:gd name="T98" fmla="*/ 12 w 552"/>
                  <a:gd name="T99" fmla="*/ 32 h 534"/>
                  <a:gd name="T100" fmla="*/ 11 w 552"/>
                  <a:gd name="T101" fmla="*/ 31 h 534"/>
                  <a:gd name="T102" fmla="*/ 9 w 552"/>
                  <a:gd name="T103" fmla="*/ 30 h 534"/>
                  <a:gd name="T104" fmla="*/ 7 w 552"/>
                  <a:gd name="T105" fmla="*/ 30 h 534"/>
                  <a:gd name="T106" fmla="*/ 7 w 552"/>
                  <a:gd name="T107" fmla="*/ 29 h 534"/>
                  <a:gd name="T108" fmla="*/ 6 w 552"/>
                  <a:gd name="T109" fmla="*/ 28 h 534"/>
                  <a:gd name="T110" fmla="*/ 4 w 552"/>
                  <a:gd name="T111" fmla="*/ 26 h 534"/>
                  <a:gd name="T112" fmla="*/ 2 w 552"/>
                  <a:gd name="T113" fmla="*/ 22 h 534"/>
                  <a:gd name="T114" fmla="*/ 1 w 552"/>
                  <a:gd name="T115" fmla="*/ 19 h 534"/>
                  <a:gd name="T116" fmla="*/ 1 w 552"/>
                  <a:gd name="T117" fmla="*/ 17 h 534"/>
                  <a:gd name="T118" fmla="*/ 0 w 552"/>
                  <a:gd name="T119" fmla="*/ 14 h 53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552" h="534">
                    <a:moveTo>
                      <a:pt x="6" y="168"/>
                    </a:moveTo>
                    <a:lnTo>
                      <a:pt x="18" y="168"/>
                    </a:lnTo>
                    <a:lnTo>
                      <a:pt x="24" y="168"/>
                    </a:lnTo>
                    <a:lnTo>
                      <a:pt x="24" y="174"/>
                    </a:lnTo>
                    <a:lnTo>
                      <a:pt x="24" y="168"/>
                    </a:lnTo>
                    <a:lnTo>
                      <a:pt x="30" y="168"/>
                    </a:lnTo>
                    <a:lnTo>
                      <a:pt x="30" y="162"/>
                    </a:lnTo>
                    <a:lnTo>
                      <a:pt x="36" y="162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42" y="150"/>
                    </a:lnTo>
                    <a:lnTo>
                      <a:pt x="48" y="150"/>
                    </a:lnTo>
                    <a:lnTo>
                      <a:pt x="48" y="144"/>
                    </a:lnTo>
                    <a:lnTo>
                      <a:pt x="54" y="138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60" y="120"/>
                    </a:lnTo>
                    <a:lnTo>
                      <a:pt x="66" y="120"/>
                    </a:lnTo>
                    <a:lnTo>
                      <a:pt x="72" y="120"/>
                    </a:lnTo>
                    <a:lnTo>
                      <a:pt x="66" y="120"/>
                    </a:lnTo>
                    <a:lnTo>
                      <a:pt x="66" y="114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78" y="108"/>
                    </a:lnTo>
                    <a:lnTo>
                      <a:pt x="78" y="102"/>
                    </a:lnTo>
                    <a:lnTo>
                      <a:pt x="78" y="96"/>
                    </a:lnTo>
                    <a:lnTo>
                      <a:pt x="72" y="96"/>
                    </a:lnTo>
                    <a:lnTo>
                      <a:pt x="66" y="96"/>
                    </a:lnTo>
                    <a:lnTo>
                      <a:pt x="60" y="96"/>
                    </a:lnTo>
                    <a:lnTo>
                      <a:pt x="60" y="90"/>
                    </a:lnTo>
                    <a:lnTo>
                      <a:pt x="54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6" y="72"/>
                    </a:lnTo>
                    <a:lnTo>
                      <a:pt x="72" y="66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2" y="24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0" y="12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1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88" y="30"/>
                    </a:lnTo>
                    <a:lnTo>
                      <a:pt x="324" y="48"/>
                    </a:lnTo>
                    <a:lnTo>
                      <a:pt x="348" y="60"/>
                    </a:lnTo>
                    <a:lnTo>
                      <a:pt x="366" y="72"/>
                    </a:lnTo>
                    <a:lnTo>
                      <a:pt x="384" y="84"/>
                    </a:lnTo>
                    <a:lnTo>
                      <a:pt x="408" y="96"/>
                    </a:lnTo>
                    <a:lnTo>
                      <a:pt x="414" y="96"/>
                    </a:lnTo>
                    <a:lnTo>
                      <a:pt x="420" y="102"/>
                    </a:lnTo>
                    <a:lnTo>
                      <a:pt x="420" y="114"/>
                    </a:lnTo>
                    <a:lnTo>
                      <a:pt x="414" y="120"/>
                    </a:lnTo>
                    <a:lnTo>
                      <a:pt x="414" y="126"/>
                    </a:lnTo>
                    <a:lnTo>
                      <a:pt x="420" y="126"/>
                    </a:lnTo>
                    <a:lnTo>
                      <a:pt x="426" y="132"/>
                    </a:lnTo>
                    <a:lnTo>
                      <a:pt x="432" y="138"/>
                    </a:lnTo>
                    <a:lnTo>
                      <a:pt x="456" y="156"/>
                    </a:lnTo>
                    <a:lnTo>
                      <a:pt x="468" y="162"/>
                    </a:lnTo>
                    <a:lnTo>
                      <a:pt x="492" y="180"/>
                    </a:lnTo>
                    <a:lnTo>
                      <a:pt x="492" y="186"/>
                    </a:lnTo>
                    <a:lnTo>
                      <a:pt x="492" y="192"/>
                    </a:lnTo>
                    <a:lnTo>
                      <a:pt x="486" y="192"/>
                    </a:lnTo>
                    <a:lnTo>
                      <a:pt x="492" y="192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86" y="204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92" y="204"/>
                    </a:lnTo>
                    <a:lnTo>
                      <a:pt x="486" y="204"/>
                    </a:lnTo>
                    <a:lnTo>
                      <a:pt x="486" y="210"/>
                    </a:lnTo>
                    <a:lnTo>
                      <a:pt x="486" y="216"/>
                    </a:lnTo>
                    <a:lnTo>
                      <a:pt x="480" y="216"/>
                    </a:lnTo>
                    <a:lnTo>
                      <a:pt x="480" y="222"/>
                    </a:lnTo>
                    <a:lnTo>
                      <a:pt x="486" y="222"/>
                    </a:lnTo>
                    <a:lnTo>
                      <a:pt x="480" y="222"/>
                    </a:lnTo>
                    <a:lnTo>
                      <a:pt x="480" y="228"/>
                    </a:lnTo>
                    <a:lnTo>
                      <a:pt x="480" y="234"/>
                    </a:lnTo>
                    <a:lnTo>
                      <a:pt x="474" y="240"/>
                    </a:lnTo>
                    <a:lnTo>
                      <a:pt x="474" y="246"/>
                    </a:lnTo>
                    <a:lnTo>
                      <a:pt x="474" y="252"/>
                    </a:lnTo>
                    <a:lnTo>
                      <a:pt x="474" y="258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6" y="276"/>
                    </a:lnTo>
                    <a:lnTo>
                      <a:pt x="492" y="276"/>
                    </a:lnTo>
                    <a:lnTo>
                      <a:pt x="492" y="282"/>
                    </a:lnTo>
                    <a:lnTo>
                      <a:pt x="498" y="282"/>
                    </a:lnTo>
                    <a:lnTo>
                      <a:pt x="498" y="288"/>
                    </a:lnTo>
                    <a:lnTo>
                      <a:pt x="504" y="288"/>
                    </a:lnTo>
                    <a:lnTo>
                      <a:pt x="504" y="294"/>
                    </a:lnTo>
                    <a:lnTo>
                      <a:pt x="510" y="294"/>
                    </a:lnTo>
                    <a:lnTo>
                      <a:pt x="510" y="300"/>
                    </a:lnTo>
                    <a:lnTo>
                      <a:pt x="510" y="306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24"/>
                    </a:lnTo>
                    <a:lnTo>
                      <a:pt x="498" y="330"/>
                    </a:lnTo>
                    <a:lnTo>
                      <a:pt x="498" y="336"/>
                    </a:lnTo>
                    <a:lnTo>
                      <a:pt x="504" y="336"/>
                    </a:lnTo>
                    <a:lnTo>
                      <a:pt x="504" y="342"/>
                    </a:lnTo>
                    <a:lnTo>
                      <a:pt x="504" y="348"/>
                    </a:lnTo>
                    <a:lnTo>
                      <a:pt x="504" y="354"/>
                    </a:lnTo>
                    <a:lnTo>
                      <a:pt x="498" y="360"/>
                    </a:lnTo>
                    <a:lnTo>
                      <a:pt x="498" y="354"/>
                    </a:lnTo>
                    <a:lnTo>
                      <a:pt x="498" y="360"/>
                    </a:lnTo>
                    <a:lnTo>
                      <a:pt x="498" y="366"/>
                    </a:lnTo>
                    <a:lnTo>
                      <a:pt x="498" y="372"/>
                    </a:lnTo>
                    <a:lnTo>
                      <a:pt x="498" y="378"/>
                    </a:lnTo>
                    <a:lnTo>
                      <a:pt x="504" y="384"/>
                    </a:lnTo>
                    <a:lnTo>
                      <a:pt x="498" y="384"/>
                    </a:lnTo>
                    <a:lnTo>
                      <a:pt x="504" y="384"/>
                    </a:lnTo>
                    <a:lnTo>
                      <a:pt x="504" y="390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10" y="390"/>
                    </a:lnTo>
                    <a:lnTo>
                      <a:pt x="504" y="390"/>
                    </a:lnTo>
                    <a:lnTo>
                      <a:pt x="504" y="396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04" y="396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04" y="402"/>
                    </a:lnTo>
                    <a:lnTo>
                      <a:pt x="510" y="402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16" y="402"/>
                    </a:lnTo>
                    <a:lnTo>
                      <a:pt x="510" y="402"/>
                    </a:lnTo>
                    <a:lnTo>
                      <a:pt x="516" y="408"/>
                    </a:lnTo>
                    <a:lnTo>
                      <a:pt x="516" y="414"/>
                    </a:lnTo>
                    <a:lnTo>
                      <a:pt x="510" y="414"/>
                    </a:lnTo>
                    <a:lnTo>
                      <a:pt x="510" y="420"/>
                    </a:lnTo>
                    <a:lnTo>
                      <a:pt x="516" y="420"/>
                    </a:lnTo>
                    <a:lnTo>
                      <a:pt x="516" y="426"/>
                    </a:lnTo>
                    <a:lnTo>
                      <a:pt x="522" y="432"/>
                    </a:lnTo>
                    <a:lnTo>
                      <a:pt x="516" y="432"/>
                    </a:lnTo>
                    <a:lnTo>
                      <a:pt x="522" y="432"/>
                    </a:lnTo>
                    <a:lnTo>
                      <a:pt x="522" y="438"/>
                    </a:lnTo>
                    <a:lnTo>
                      <a:pt x="522" y="444"/>
                    </a:lnTo>
                    <a:lnTo>
                      <a:pt x="516" y="444"/>
                    </a:lnTo>
                    <a:lnTo>
                      <a:pt x="522" y="444"/>
                    </a:lnTo>
                    <a:lnTo>
                      <a:pt x="528" y="444"/>
                    </a:lnTo>
                    <a:lnTo>
                      <a:pt x="528" y="450"/>
                    </a:lnTo>
                    <a:lnTo>
                      <a:pt x="534" y="450"/>
                    </a:lnTo>
                    <a:lnTo>
                      <a:pt x="528" y="456"/>
                    </a:lnTo>
                    <a:lnTo>
                      <a:pt x="534" y="456"/>
                    </a:lnTo>
                    <a:lnTo>
                      <a:pt x="534" y="450"/>
                    </a:lnTo>
                    <a:lnTo>
                      <a:pt x="534" y="456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6" y="462"/>
                    </a:lnTo>
                    <a:lnTo>
                      <a:pt x="546" y="456"/>
                    </a:lnTo>
                    <a:lnTo>
                      <a:pt x="540" y="456"/>
                    </a:lnTo>
                    <a:lnTo>
                      <a:pt x="546" y="456"/>
                    </a:lnTo>
                    <a:lnTo>
                      <a:pt x="546" y="462"/>
                    </a:lnTo>
                    <a:lnTo>
                      <a:pt x="552" y="462"/>
                    </a:lnTo>
                    <a:lnTo>
                      <a:pt x="552" y="468"/>
                    </a:lnTo>
                    <a:lnTo>
                      <a:pt x="552" y="474"/>
                    </a:lnTo>
                    <a:lnTo>
                      <a:pt x="546" y="474"/>
                    </a:lnTo>
                    <a:lnTo>
                      <a:pt x="540" y="480"/>
                    </a:lnTo>
                    <a:lnTo>
                      <a:pt x="534" y="486"/>
                    </a:lnTo>
                    <a:lnTo>
                      <a:pt x="528" y="486"/>
                    </a:lnTo>
                    <a:lnTo>
                      <a:pt x="522" y="492"/>
                    </a:lnTo>
                    <a:lnTo>
                      <a:pt x="516" y="492"/>
                    </a:lnTo>
                    <a:lnTo>
                      <a:pt x="510" y="492"/>
                    </a:lnTo>
                    <a:lnTo>
                      <a:pt x="510" y="498"/>
                    </a:lnTo>
                    <a:lnTo>
                      <a:pt x="504" y="498"/>
                    </a:lnTo>
                    <a:lnTo>
                      <a:pt x="498" y="504"/>
                    </a:lnTo>
                    <a:lnTo>
                      <a:pt x="492" y="504"/>
                    </a:lnTo>
                    <a:lnTo>
                      <a:pt x="486" y="504"/>
                    </a:lnTo>
                    <a:lnTo>
                      <a:pt x="480" y="504"/>
                    </a:lnTo>
                    <a:lnTo>
                      <a:pt x="474" y="504"/>
                    </a:lnTo>
                    <a:lnTo>
                      <a:pt x="474" y="510"/>
                    </a:lnTo>
                    <a:lnTo>
                      <a:pt x="468" y="510"/>
                    </a:lnTo>
                    <a:lnTo>
                      <a:pt x="462" y="510"/>
                    </a:lnTo>
                    <a:lnTo>
                      <a:pt x="462" y="516"/>
                    </a:lnTo>
                    <a:lnTo>
                      <a:pt x="456" y="516"/>
                    </a:lnTo>
                    <a:lnTo>
                      <a:pt x="450" y="516"/>
                    </a:lnTo>
                    <a:lnTo>
                      <a:pt x="450" y="510"/>
                    </a:lnTo>
                    <a:lnTo>
                      <a:pt x="444" y="510"/>
                    </a:lnTo>
                    <a:lnTo>
                      <a:pt x="438" y="510"/>
                    </a:lnTo>
                    <a:lnTo>
                      <a:pt x="432" y="510"/>
                    </a:lnTo>
                    <a:lnTo>
                      <a:pt x="426" y="510"/>
                    </a:lnTo>
                    <a:lnTo>
                      <a:pt x="426" y="516"/>
                    </a:lnTo>
                    <a:lnTo>
                      <a:pt x="426" y="522"/>
                    </a:lnTo>
                    <a:lnTo>
                      <a:pt x="420" y="522"/>
                    </a:lnTo>
                    <a:lnTo>
                      <a:pt x="420" y="528"/>
                    </a:lnTo>
                    <a:lnTo>
                      <a:pt x="414" y="528"/>
                    </a:lnTo>
                    <a:lnTo>
                      <a:pt x="408" y="528"/>
                    </a:lnTo>
                    <a:lnTo>
                      <a:pt x="408" y="534"/>
                    </a:lnTo>
                    <a:lnTo>
                      <a:pt x="402" y="534"/>
                    </a:lnTo>
                    <a:lnTo>
                      <a:pt x="402" y="528"/>
                    </a:lnTo>
                    <a:lnTo>
                      <a:pt x="396" y="528"/>
                    </a:lnTo>
                    <a:lnTo>
                      <a:pt x="390" y="528"/>
                    </a:lnTo>
                    <a:lnTo>
                      <a:pt x="384" y="522"/>
                    </a:lnTo>
                    <a:lnTo>
                      <a:pt x="384" y="528"/>
                    </a:lnTo>
                    <a:lnTo>
                      <a:pt x="378" y="528"/>
                    </a:lnTo>
                    <a:lnTo>
                      <a:pt x="372" y="522"/>
                    </a:lnTo>
                    <a:lnTo>
                      <a:pt x="372" y="528"/>
                    </a:lnTo>
                    <a:lnTo>
                      <a:pt x="366" y="528"/>
                    </a:lnTo>
                    <a:lnTo>
                      <a:pt x="366" y="534"/>
                    </a:lnTo>
                    <a:lnTo>
                      <a:pt x="360" y="534"/>
                    </a:lnTo>
                    <a:lnTo>
                      <a:pt x="360" y="528"/>
                    </a:lnTo>
                    <a:lnTo>
                      <a:pt x="354" y="528"/>
                    </a:lnTo>
                    <a:lnTo>
                      <a:pt x="348" y="528"/>
                    </a:lnTo>
                    <a:lnTo>
                      <a:pt x="348" y="534"/>
                    </a:lnTo>
                    <a:lnTo>
                      <a:pt x="348" y="528"/>
                    </a:lnTo>
                    <a:lnTo>
                      <a:pt x="342" y="534"/>
                    </a:lnTo>
                    <a:lnTo>
                      <a:pt x="342" y="528"/>
                    </a:lnTo>
                    <a:lnTo>
                      <a:pt x="342" y="522"/>
                    </a:lnTo>
                    <a:lnTo>
                      <a:pt x="336" y="522"/>
                    </a:lnTo>
                    <a:lnTo>
                      <a:pt x="330" y="522"/>
                    </a:lnTo>
                    <a:lnTo>
                      <a:pt x="330" y="516"/>
                    </a:lnTo>
                    <a:lnTo>
                      <a:pt x="324" y="516"/>
                    </a:lnTo>
                    <a:lnTo>
                      <a:pt x="324" y="522"/>
                    </a:lnTo>
                    <a:lnTo>
                      <a:pt x="318" y="522"/>
                    </a:lnTo>
                    <a:lnTo>
                      <a:pt x="318" y="528"/>
                    </a:lnTo>
                    <a:lnTo>
                      <a:pt x="318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0" y="522"/>
                    </a:lnTo>
                    <a:lnTo>
                      <a:pt x="282" y="522"/>
                    </a:lnTo>
                    <a:lnTo>
                      <a:pt x="282" y="516"/>
                    </a:lnTo>
                    <a:lnTo>
                      <a:pt x="276" y="516"/>
                    </a:lnTo>
                    <a:lnTo>
                      <a:pt x="276" y="510"/>
                    </a:lnTo>
                    <a:lnTo>
                      <a:pt x="270" y="510"/>
                    </a:lnTo>
                    <a:lnTo>
                      <a:pt x="270" y="504"/>
                    </a:lnTo>
                    <a:lnTo>
                      <a:pt x="264" y="504"/>
                    </a:lnTo>
                    <a:lnTo>
                      <a:pt x="264" y="498"/>
                    </a:lnTo>
                    <a:lnTo>
                      <a:pt x="264" y="492"/>
                    </a:lnTo>
                    <a:lnTo>
                      <a:pt x="264" y="486"/>
                    </a:lnTo>
                    <a:lnTo>
                      <a:pt x="264" y="480"/>
                    </a:lnTo>
                    <a:lnTo>
                      <a:pt x="264" y="474"/>
                    </a:lnTo>
                    <a:lnTo>
                      <a:pt x="264" y="468"/>
                    </a:lnTo>
                    <a:lnTo>
                      <a:pt x="264" y="462"/>
                    </a:lnTo>
                    <a:lnTo>
                      <a:pt x="264" y="456"/>
                    </a:lnTo>
                    <a:lnTo>
                      <a:pt x="258" y="450"/>
                    </a:lnTo>
                    <a:lnTo>
                      <a:pt x="264" y="450"/>
                    </a:lnTo>
                    <a:lnTo>
                      <a:pt x="258" y="444"/>
                    </a:lnTo>
                    <a:lnTo>
                      <a:pt x="252" y="438"/>
                    </a:lnTo>
                    <a:lnTo>
                      <a:pt x="252" y="432"/>
                    </a:lnTo>
                    <a:lnTo>
                      <a:pt x="246" y="432"/>
                    </a:lnTo>
                    <a:lnTo>
                      <a:pt x="246" y="426"/>
                    </a:lnTo>
                    <a:lnTo>
                      <a:pt x="240" y="426"/>
                    </a:lnTo>
                    <a:lnTo>
                      <a:pt x="240" y="420"/>
                    </a:lnTo>
                    <a:lnTo>
                      <a:pt x="234" y="420"/>
                    </a:lnTo>
                    <a:lnTo>
                      <a:pt x="234" y="426"/>
                    </a:lnTo>
                    <a:lnTo>
                      <a:pt x="234" y="432"/>
                    </a:lnTo>
                    <a:lnTo>
                      <a:pt x="228" y="432"/>
                    </a:lnTo>
                    <a:lnTo>
                      <a:pt x="228" y="426"/>
                    </a:lnTo>
                    <a:lnTo>
                      <a:pt x="222" y="426"/>
                    </a:lnTo>
                    <a:lnTo>
                      <a:pt x="216" y="426"/>
                    </a:lnTo>
                    <a:lnTo>
                      <a:pt x="210" y="426"/>
                    </a:lnTo>
                    <a:lnTo>
                      <a:pt x="204" y="426"/>
                    </a:lnTo>
                    <a:lnTo>
                      <a:pt x="204" y="420"/>
                    </a:lnTo>
                    <a:lnTo>
                      <a:pt x="198" y="420"/>
                    </a:lnTo>
                    <a:lnTo>
                      <a:pt x="192" y="420"/>
                    </a:lnTo>
                    <a:lnTo>
                      <a:pt x="186" y="420"/>
                    </a:lnTo>
                    <a:lnTo>
                      <a:pt x="186" y="414"/>
                    </a:lnTo>
                    <a:lnTo>
                      <a:pt x="180" y="414"/>
                    </a:lnTo>
                    <a:lnTo>
                      <a:pt x="174" y="414"/>
                    </a:lnTo>
                    <a:lnTo>
                      <a:pt x="174" y="408"/>
                    </a:lnTo>
                    <a:lnTo>
                      <a:pt x="168" y="408"/>
                    </a:lnTo>
                    <a:lnTo>
                      <a:pt x="162" y="408"/>
                    </a:lnTo>
                    <a:lnTo>
                      <a:pt x="162" y="402"/>
                    </a:lnTo>
                    <a:lnTo>
                      <a:pt x="156" y="402"/>
                    </a:lnTo>
                    <a:lnTo>
                      <a:pt x="150" y="402"/>
                    </a:lnTo>
                    <a:lnTo>
                      <a:pt x="144" y="402"/>
                    </a:lnTo>
                    <a:lnTo>
                      <a:pt x="138" y="402"/>
                    </a:lnTo>
                    <a:lnTo>
                      <a:pt x="132" y="402"/>
                    </a:lnTo>
                    <a:lnTo>
                      <a:pt x="132" y="396"/>
                    </a:lnTo>
                    <a:lnTo>
                      <a:pt x="132" y="390"/>
                    </a:lnTo>
                    <a:lnTo>
                      <a:pt x="126" y="390"/>
                    </a:lnTo>
                    <a:lnTo>
                      <a:pt x="120" y="390"/>
                    </a:lnTo>
                    <a:lnTo>
                      <a:pt x="114" y="390"/>
                    </a:lnTo>
                    <a:lnTo>
                      <a:pt x="114" y="384"/>
                    </a:lnTo>
                    <a:lnTo>
                      <a:pt x="114" y="378"/>
                    </a:lnTo>
                    <a:lnTo>
                      <a:pt x="108" y="378"/>
                    </a:lnTo>
                    <a:lnTo>
                      <a:pt x="102" y="378"/>
                    </a:lnTo>
                    <a:lnTo>
                      <a:pt x="96" y="378"/>
                    </a:lnTo>
                    <a:lnTo>
                      <a:pt x="90" y="378"/>
                    </a:lnTo>
                    <a:lnTo>
                      <a:pt x="84" y="378"/>
                    </a:lnTo>
                    <a:lnTo>
                      <a:pt x="78" y="366"/>
                    </a:lnTo>
                    <a:lnTo>
                      <a:pt x="78" y="360"/>
                    </a:lnTo>
                    <a:lnTo>
                      <a:pt x="72" y="360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66" y="348"/>
                    </a:lnTo>
                    <a:lnTo>
                      <a:pt x="66" y="342"/>
                    </a:lnTo>
                    <a:lnTo>
                      <a:pt x="60" y="330"/>
                    </a:lnTo>
                    <a:lnTo>
                      <a:pt x="54" y="318"/>
                    </a:lnTo>
                    <a:lnTo>
                      <a:pt x="54" y="312"/>
                    </a:lnTo>
                    <a:lnTo>
                      <a:pt x="48" y="300"/>
                    </a:lnTo>
                    <a:lnTo>
                      <a:pt x="42" y="294"/>
                    </a:lnTo>
                    <a:lnTo>
                      <a:pt x="42" y="288"/>
                    </a:lnTo>
                    <a:lnTo>
                      <a:pt x="30" y="282"/>
                    </a:lnTo>
                    <a:lnTo>
                      <a:pt x="24" y="276"/>
                    </a:lnTo>
                    <a:lnTo>
                      <a:pt x="18" y="270"/>
                    </a:lnTo>
                    <a:lnTo>
                      <a:pt x="18" y="264"/>
                    </a:lnTo>
                    <a:lnTo>
                      <a:pt x="18" y="258"/>
                    </a:lnTo>
                    <a:lnTo>
                      <a:pt x="12" y="252"/>
                    </a:lnTo>
                    <a:lnTo>
                      <a:pt x="12" y="246"/>
                    </a:lnTo>
                    <a:lnTo>
                      <a:pt x="18" y="240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12" y="228"/>
                    </a:lnTo>
                    <a:lnTo>
                      <a:pt x="12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6" y="198"/>
                    </a:lnTo>
                    <a:lnTo>
                      <a:pt x="0" y="192"/>
                    </a:lnTo>
                    <a:lnTo>
                      <a:pt x="0" y="186"/>
                    </a:lnTo>
                    <a:lnTo>
                      <a:pt x="0" y="180"/>
                    </a:lnTo>
                    <a:lnTo>
                      <a:pt x="6" y="174"/>
                    </a:lnTo>
                    <a:lnTo>
                      <a:pt x="6" y="168"/>
                    </a:lnTo>
                    <a:close/>
                  </a:path>
                </a:pathLst>
              </a:custGeom>
              <a:solidFill>
                <a:srgbClr val="D5CB99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51" name="Freeform 73"/>
              <p:cNvSpPr>
                <a:spLocks noChangeAspect="1"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5013" y="2253"/>
                <a:ext cx="10" cy="12"/>
              </a:xfrm>
              <a:custGeom>
                <a:avLst/>
                <a:gdLst>
                  <a:gd name="T0" fmla="*/ 1 w 18"/>
                  <a:gd name="T1" fmla="*/ 1 h 18"/>
                  <a:gd name="T2" fmla="*/ 1 w 18"/>
                  <a:gd name="T3" fmla="*/ 1 h 18"/>
                  <a:gd name="T4" fmla="*/ 1 w 18"/>
                  <a:gd name="T5" fmla="*/ 1 h 18"/>
                  <a:gd name="T6" fmla="*/ 1 w 18"/>
                  <a:gd name="T7" fmla="*/ 0 h 18"/>
                  <a:gd name="T8" fmla="*/ 1 w 18"/>
                  <a:gd name="T9" fmla="*/ 1 h 18"/>
                  <a:gd name="T10" fmla="*/ 1 w 18"/>
                  <a:gd name="T11" fmla="*/ 1 h 18"/>
                  <a:gd name="T12" fmla="*/ 1 w 18"/>
                  <a:gd name="T13" fmla="*/ 1 h 18"/>
                  <a:gd name="T14" fmla="*/ 1 w 18"/>
                  <a:gd name="T15" fmla="*/ 1 h 18"/>
                  <a:gd name="T16" fmla="*/ 1 w 18"/>
                  <a:gd name="T17" fmla="*/ 1 h 18"/>
                  <a:gd name="T18" fmla="*/ 1 w 18"/>
                  <a:gd name="T19" fmla="*/ 1 h 18"/>
                  <a:gd name="T20" fmla="*/ 1 w 18"/>
                  <a:gd name="T21" fmla="*/ 1 h 18"/>
                  <a:gd name="T22" fmla="*/ 0 w 18"/>
                  <a:gd name="T23" fmla="*/ 1 h 18"/>
                  <a:gd name="T24" fmla="*/ 1 w 18"/>
                  <a:gd name="T25" fmla="*/ 1 h 18"/>
                  <a:gd name="T26" fmla="*/ 1 w 18"/>
                  <a:gd name="T27" fmla="*/ 1 h 18"/>
                  <a:gd name="T28" fmla="*/ 1 w 18"/>
                  <a:gd name="T29" fmla="*/ 1 h 18"/>
                  <a:gd name="T30" fmla="*/ 1 w 18"/>
                  <a:gd name="T31" fmla="*/ 1 h 18"/>
                  <a:gd name="T32" fmla="*/ 1 w 18"/>
                  <a:gd name="T33" fmla="*/ 1 h 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8" h="18">
                    <a:moveTo>
                      <a:pt x="12" y="6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12" y="6"/>
                    </a:lnTo>
                    <a:close/>
                  </a:path>
                </a:pathLst>
              </a:custGeom>
              <a:solidFill>
                <a:srgbClr val="D5CB99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52" name="Freeform 74"/>
              <p:cNvSpPr>
                <a:spLocks noChangeAspect="1"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016" y="2164"/>
                <a:ext cx="7" cy="19"/>
              </a:xfrm>
              <a:custGeom>
                <a:avLst/>
                <a:gdLst>
                  <a:gd name="T0" fmla="*/ 1 w 12"/>
                  <a:gd name="T1" fmla="*/ 1 h 30"/>
                  <a:gd name="T2" fmla="*/ 1 w 12"/>
                  <a:gd name="T3" fmla="*/ 1 h 30"/>
                  <a:gd name="T4" fmla="*/ 1 w 12"/>
                  <a:gd name="T5" fmla="*/ 1 h 30"/>
                  <a:gd name="T6" fmla="*/ 1 w 12"/>
                  <a:gd name="T7" fmla="*/ 1 h 30"/>
                  <a:gd name="T8" fmla="*/ 1 w 12"/>
                  <a:gd name="T9" fmla="*/ 1 h 30"/>
                  <a:gd name="T10" fmla="*/ 1 w 12"/>
                  <a:gd name="T11" fmla="*/ 1 h 30"/>
                  <a:gd name="T12" fmla="*/ 1 w 12"/>
                  <a:gd name="T13" fmla="*/ 2 h 30"/>
                  <a:gd name="T14" fmla="*/ 1 w 12"/>
                  <a:gd name="T15" fmla="*/ 2 h 30"/>
                  <a:gd name="T16" fmla="*/ 1 w 12"/>
                  <a:gd name="T17" fmla="*/ 2 h 30"/>
                  <a:gd name="T18" fmla="*/ 0 w 12"/>
                  <a:gd name="T19" fmla="*/ 2 h 30"/>
                  <a:gd name="T20" fmla="*/ 0 w 12"/>
                  <a:gd name="T21" fmla="*/ 2 h 30"/>
                  <a:gd name="T22" fmla="*/ 0 w 12"/>
                  <a:gd name="T23" fmla="*/ 2 h 30"/>
                  <a:gd name="T24" fmla="*/ 0 w 12"/>
                  <a:gd name="T25" fmla="*/ 2 h 30"/>
                  <a:gd name="T26" fmla="*/ 0 w 12"/>
                  <a:gd name="T27" fmla="*/ 2 h 30"/>
                  <a:gd name="T28" fmla="*/ 0 w 12"/>
                  <a:gd name="T29" fmla="*/ 1 h 30"/>
                  <a:gd name="T30" fmla="*/ 0 w 12"/>
                  <a:gd name="T31" fmla="*/ 2 h 30"/>
                  <a:gd name="T32" fmla="*/ 0 w 12"/>
                  <a:gd name="T33" fmla="*/ 1 h 30"/>
                  <a:gd name="T34" fmla="*/ 1 w 12"/>
                  <a:gd name="T35" fmla="*/ 1 h 30"/>
                  <a:gd name="T36" fmla="*/ 0 w 12"/>
                  <a:gd name="T37" fmla="*/ 1 h 30"/>
                  <a:gd name="T38" fmla="*/ 1 w 12"/>
                  <a:gd name="T39" fmla="*/ 1 h 30"/>
                  <a:gd name="T40" fmla="*/ 1 w 12"/>
                  <a:gd name="T41" fmla="*/ 1 h 30"/>
                  <a:gd name="T42" fmla="*/ 0 w 12"/>
                  <a:gd name="T43" fmla="*/ 1 h 30"/>
                  <a:gd name="T44" fmla="*/ 1 w 12"/>
                  <a:gd name="T45" fmla="*/ 1 h 30"/>
                  <a:gd name="T46" fmla="*/ 0 w 12"/>
                  <a:gd name="T47" fmla="*/ 1 h 30"/>
                  <a:gd name="T48" fmla="*/ 0 w 12"/>
                  <a:gd name="T49" fmla="*/ 1 h 30"/>
                  <a:gd name="T50" fmla="*/ 0 w 12"/>
                  <a:gd name="T51" fmla="*/ 0 h 30"/>
                  <a:gd name="T52" fmla="*/ 1 w 12"/>
                  <a:gd name="T53" fmla="*/ 0 h 30"/>
                  <a:gd name="T54" fmla="*/ 1 w 12"/>
                  <a:gd name="T55" fmla="*/ 1 h 30"/>
                  <a:gd name="T56" fmla="*/ 1 w 12"/>
                  <a:gd name="T57" fmla="*/ 0 h 30"/>
                  <a:gd name="T58" fmla="*/ 1 w 12"/>
                  <a:gd name="T59" fmla="*/ 1 h 30"/>
                  <a:gd name="T60" fmla="*/ 1 w 12"/>
                  <a:gd name="T61" fmla="*/ 1 h 30"/>
                  <a:gd name="T62" fmla="*/ 1 w 12"/>
                  <a:gd name="T63" fmla="*/ 0 h 30"/>
                  <a:gd name="T64" fmla="*/ 1 w 12"/>
                  <a:gd name="T65" fmla="*/ 1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2" h="30">
                    <a:moveTo>
                      <a:pt x="12" y="6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12" y="6"/>
                    </a:lnTo>
                    <a:close/>
                  </a:path>
                </a:pathLst>
              </a:custGeom>
              <a:solidFill>
                <a:srgbClr val="D5CB99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53" name="Freeform 75"/>
              <p:cNvSpPr>
                <a:spLocks noChangeAspect="1"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001" y="2192"/>
                <a:ext cx="12" cy="23"/>
              </a:xfrm>
              <a:custGeom>
                <a:avLst/>
                <a:gdLst>
                  <a:gd name="T0" fmla="*/ 0 w 18"/>
                  <a:gd name="T1" fmla="*/ 1 h 36"/>
                  <a:gd name="T2" fmla="*/ 0 w 18"/>
                  <a:gd name="T3" fmla="*/ 1 h 36"/>
                  <a:gd name="T4" fmla="*/ 1 w 18"/>
                  <a:gd name="T5" fmla="*/ 1 h 36"/>
                  <a:gd name="T6" fmla="*/ 1 w 18"/>
                  <a:gd name="T7" fmla="*/ 0 h 36"/>
                  <a:gd name="T8" fmla="*/ 1 w 18"/>
                  <a:gd name="T9" fmla="*/ 1 h 36"/>
                  <a:gd name="T10" fmla="*/ 1 w 18"/>
                  <a:gd name="T11" fmla="*/ 1 h 36"/>
                  <a:gd name="T12" fmla="*/ 1 w 18"/>
                  <a:gd name="T13" fmla="*/ 1 h 36"/>
                  <a:gd name="T14" fmla="*/ 1 w 18"/>
                  <a:gd name="T15" fmla="*/ 2 h 36"/>
                  <a:gd name="T16" fmla="*/ 1 w 18"/>
                  <a:gd name="T17" fmla="*/ 2 h 36"/>
                  <a:gd name="T18" fmla="*/ 1 w 18"/>
                  <a:gd name="T19" fmla="*/ 1 h 36"/>
                  <a:gd name="T20" fmla="*/ 1 w 18"/>
                  <a:gd name="T21" fmla="*/ 2 h 36"/>
                  <a:gd name="T22" fmla="*/ 1 w 18"/>
                  <a:gd name="T23" fmla="*/ 2 h 36"/>
                  <a:gd name="T24" fmla="*/ 1 w 18"/>
                  <a:gd name="T25" fmla="*/ 3 h 36"/>
                  <a:gd name="T26" fmla="*/ 1 w 18"/>
                  <a:gd name="T27" fmla="*/ 3 h 36"/>
                  <a:gd name="T28" fmla="*/ 1 w 18"/>
                  <a:gd name="T29" fmla="*/ 2 h 36"/>
                  <a:gd name="T30" fmla="*/ 1 w 18"/>
                  <a:gd name="T31" fmla="*/ 2 h 36"/>
                  <a:gd name="T32" fmla="*/ 1 w 18"/>
                  <a:gd name="T33" fmla="*/ 2 h 36"/>
                  <a:gd name="T34" fmla="*/ 1 w 18"/>
                  <a:gd name="T35" fmla="*/ 2 h 36"/>
                  <a:gd name="T36" fmla="*/ 0 w 18"/>
                  <a:gd name="T37" fmla="*/ 2 h 36"/>
                  <a:gd name="T38" fmla="*/ 0 w 18"/>
                  <a:gd name="T39" fmla="*/ 1 h 36"/>
                  <a:gd name="T40" fmla="*/ 0 w 18"/>
                  <a:gd name="T41" fmla="*/ 1 h 36"/>
                  <a:gd name="T42" fmla="*/ 0 w 18"/>
                  <a:gd name="T43" fmla="*/ 1 h 36"/>
                  <a:gd name="T44" fmla="*/ 0 w 18"/>
                  <a:gd name="T45" fmla="*/ 1 h 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8" h="36">
                    <a:moveTo>
                      <a:pt x="0" y="12"/>
                    </a:move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D5CB99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</p:grpSp>
        <p:sp>
          <p:nvSpPr>
            <p:cNvPr id="14393" name="Freeform 76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auto">
            <a:xfrm>
              <a:off x="5521" y="2324"/>
              <a:ext cx="15" cy="21"/>
            </a:xfrm>
            <a:custGeom>
              <a:avLst/>
              <a:gdLst>
                <a:gd name="T0" fmla="*/ 1 w 24"/>
                <a:gd name="T1" fmla="*/ 0 h 30"/>
                <a:gd name="T2" fmla="*/ 1 w 24"/>
                <a:gd name="T3" fmla="*/ 0 h 30"/>
                <a:gd name="T4" fmla="*/ 1 w 24"/>
                <a:gd name="T5" fmla="*/ 1 h 30"/>
                <a:gd name="T6" fmla="*/ 2 w 24"/>
                <a:gd name="T7" fmla="*/ 1 h 30"/>
                <a:gd name="T8" fmla="*/ 2 w 24"/>
                <a:gd name="T9" fmla="*/ 1 h 30"/>
                <a:gd name="T10" fmla="*/ 2 w 24"/>
                <a:gd name="T11" fmla="*/ 1 h 30"/>
                <a:gd name="T12" fmla="*/ 2 w 24"/>
                <a:gd name="T13" fmla="*/ 1 h 30"/>
                <a:gd name="T14" fmla="*/ 2 w 24"/>
                <a:gd name="T15" fmla="*/ 2 h 30"/>
                <a:gd name="T16" fmla="*/ 1 w 24"/>
                <a:gd name="T17" fmla="*/ 2 h 30"/>
                <a:gd name="T18" fmla="*/ 1 w 24"/>
                <a:gd name="T19" fmla="*/ 3 h 30"/>
                <a:gd name="T20" fmla="*/ 1 w 24"/>
                <a:gd name="T21" fmla="*/ 3 h 30"/>
                <a:gd name="T22" fmla="*/ 1 w 24"/>
                <a:gd name="T23" fmla="*/ 4 h 30"/>
                <a:gd name="T24" fmla="*/ 1 w 24"/>
                <a:gd name="T25" fmla="*/ 3 h 30"/>
                <a:gd name="T26" fmla="*/ 0 w 24"/>
                <a:gd name="T27" fmla="*/ 3 h 30"/>
                <a:gd name="T28" fmla="*/ 1 w 24"/>
                <a:gd name="T29" fmla="*/ 3 h 30"/>
                <a:gd name="T30" fmla="*/ 0 w 24"/>
                <a:gd name="T31" fmla="*/ 2 h 30"/>
                <a:gd name="T32" fmla="*/ 1 w 24"/>
                <a:gd name="T33" fmla="*/ 2 h 30"/>
                <a:gd name="T34" fmla="*/ 0 w 24"/>
                <a:gd name="T35" fmla="*/ 2 h 30"/>
                <a:gd name="T36" fmla="*/ 1 w 24"/>
                <a:gd name="T37" fmla="*/ 2 h 30"/>
                <a:gd name="T38" fmla="*/ 0 w 24"/>
                <a:gd name="T39" fmla="*/ 2 h 30"/>
                <a:gd name="T40" fmla="*/ 1 w 24"/>
                <a:gd name="T41" fmla="*/ 2 h 30"/>
                <a:gd name="T42" fmla="*/ 0 w 24"/>
                <a:gd name="T43" fmla="*/ 2 h 30"/>
                <a:gd name="T44" fmla="*/ 1 w 24"/>
                <a:gd name="T45" fmla="*/ 1 h 30"/>
                <a:gd name="T46" fmla="*/ 1 w 24"/>
                <a:gd name="T47" fmla="*/ 1 h 30"/>
                <a:gd name="T48" fmla="*/ 1 w 24"/>
                <a:gd name="T49" fmla="*/ 0 h 3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4" h="30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94" name="Freeform 77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5463" y="2466"/>
              <a:ext cx="17" cy="18"/>
            </a:xfrm>
            <a:custGeom>
              <a:avLst/>
              <a:gdLst>
                <a:gd name="T0" fmla="*/ 0 w 30"/>
                <a:gd name="T1" fmla="*/ 1 h 30"/>
                <a:gd name="T2" fmla="*/ 1 w 30"/>
                <a:gd name="T3" fmla="*/ 1 h 30"/>
                <a:gd name="T4" fmla="*/ 1 w 30"/>
                <a:gd name="T5" fmla="*/ 0 h 30"/>
                <a:gd name="T6" fmla="*/ 1 w 30"/>
                <a:gd name="T7" fmla="*/ 0 h 30"/>
                <a:gd name="T8" fmla="*/ 1 w 30"/>
                <a:gd name="T9" fmla="*/ 0 h 30"/>
                <a:gd name="T10" fmla="*/ 1 w 30"/>
                <a:gd name="T11" fmla="*/ 1 h 30"/>
                <a:gd name="T12" fmla="*/ 1 w 30"/>
                <a:gd name="T13" fmla="*/ 1 h 30"/>
                <a:gd name="T14" fmla="*/ 1 w 30"/>
                <a:gd name="T15" fmla="*/ 1 h 30"/>
                <a:gd name="T16" fmla="*/ 1 w 30"/>
                <a:gd name="T17" fmla="*/ 1 h 30"/>
                <a:gd name="T18" fmla="*/ 1 w 30"/>
                <a:gd name="T19" fmla="*/ 1 h 30"/>
                <a:gd name="T20" fmla="*/ 1 w 30"/>
                <a:gd name="T21" fmla="*/ 1 h 30"/>
                <a:gd name="T22" fmla="*/ 1 w 30"/>
                <a:gd name="T23" fmla="*/ 1 h 30"/>
                <a:gd name="T24" fmla="*/ 1 w 30"/>
                <a:gd name="T25" fmla="*/ 1 h 30"/>
                <a:gd name="T26" fmla="*/ 1 w 30"/>
                <a:gd name="T27" fmla="*/ 1 h 30"/>
                <a:gd name="T28" fmla="*/ 1 w 30"/>
                <a:gd name="T29" fmla="*/ 1 h 30"/>
                <a:gd name="T30" fmla="*/ 1 w 30"/>
                <a:gd name="T31" fmla="*/ 1 h 30"/>
                <a:gd name="T32" fmla="*/ 1 w 30"/>
                <a:gd name="T33" fmla="*/ 1 h 30"/>
                <a:gd name="T34" fmla="*/ 1 w 30"/>
                <a:gd name="T35" fmla="*/ 1 h 30"/>
                <a:gd name="T36" fmla="*/ 0 w 30"/>
                <a:gd name="T37" fmla="*/ 1 h 30"/>
                <a:gd name="T38" fmla="*/ 0 w 30"/>
                <a:gd name="T39" fmla="*/ 1 h 30"/>
                <a:gd name="T40" fmla="*/ 0 w 30"/>
                <a:gd name="T41" fmla="*/ 1 h 30"/>
                <a:gd name="T42" fmla="*/ 1 w 30"/>
                <a:gd name="T43" fmla="*/ 1 h 30"/>
                <a:gd name="T44" fmla="*/ 0 w 30"/>
                <a:gd name="T45" fmla="*/ 1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0" h="30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grpSp>
          <p:nvGrpSpPr>
            <p:cNvPr id="14395" name="Group 78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5466" y="1917"/>
              <a:ext cx="29" cy="109"/>
              <a:chOff x="4396" y="2524"/>
              <a:chExt cx="40" cy="143"/>
            </a:xfrm>
          </p:grpSpPr>
          <p:sp>
            <p:nvSpPr>
              <p:cNvPr id="14443" name="Freeform 79"/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4396" y="2555"/>
                <a:ext cx="5" cy="10"/>
              </a:xfrm>
              <a:custGeom>
                <a:avLst/>
                <a:gdLst>
                  <a:gd name="T0" fmla="*/ 3 w 6"/>
                  <a:gd name="T1" fmla="*/ 4 h 12"/>
                  <a:gd name="T2" fmla="*/ 3 w 6"/>
                  <a:gd name="T3" fmla="*/ 3 h 12"/>
                  <a:gd name="T4" fmla="*/ 0 w 6"/>
                  <a:gd name="T5" fmla="*/ 3 h 12"/>
                  <a:gd name="T6" fmla="*/ 3 w 6"/>
                  <a:gd name="T7" fmla="*/ 0 h 12"/>
                  <a:gd name="T8" fmla="*/ 3 w 6"/>
                  <a:gd name="T9" fmla="*/ 3 h 12"/>
                  <a:gd name="T10" fmla="*/ 3 w 6"/>
                  <a:gd name="T11" fmla="*/ 4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12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44" name="Freeform 80"/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4406" y="2524"/>
                <a:ext cx="5" cy="0"/>
              </a:xfrm>
              <a:custGeom>
                <a:avLst/>
                <a:gdLst>
                  <a:gd name="T0" fmla="*/ 0 w 6"/>
                  <a:gd name="T1" fmla="*/ 3 w 6"/>
                  <a:gd name="T2" fmla="*/ 0 w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45" name="Freeform 81"/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4411" y="2544"/>
                <a:ext cx="0" cy="5"/>
              </a:xfrm>
              <a:custGeom>
                <a:avLst/>
                <a:gdLst>
                  <a:gd name="T0" fmla="*/ 0 h 6"/>
                  <a:gd name="T1" fmla="*/ 3 h 6"/>
                  <a:gd name="T2" fmla="*/ 0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46" name="Freeform 82"/>
              <p:cNvSpPr>
                <a:spLocks noChangeAspect="1"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4431" y="2662"/>
                <a:ext cx="5" cy="5"/>
              </a:xfrm>
              <a:custGeom>
                <a:avLst/>
                <a:gdLst>
                  <a:gd name="T0" fmla="*/ 0 w 6"/>
                  <a:gd name="T1" fmla="*/ 3 h 6"/>
                  <a:gd name="T2" fmla="*/ 0 w 6"/>
                  <a:gd name="T3" fmla="*/ 0 h 6"/>
                  <a:gd name="T4" fmla="*/ 3 w 6"/>
                  <a:gd name="T5" fmla="*/ 0 h 6"/>
                  <a:gd name="T6" fmla="*/ 0 w 6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47" name="Freeform 83"/>
              <p:cNvSpPr>
                <a:spLocks noChangeAspect="1"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4421" y="2555"/>
                <a:ext cx="0" cy="5"/>
              </a:xfrm>
              <a:custGeom>
                <a:avLst/>
                <a:gdLst>
                  <a:gd name="T0" fmla="*/ 0 h 6"/>
                  <a:gd name="T1" fmla="*/ 3 h 6"/>
                  <a:gd name="T2" fmla="*/ 0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48" name="Freeform 84"/>
              <p:cNvSpPr>
                <a:spLocks noChangeAspect="1"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4416" y="2544"/>
                <a:ext cx="5" cy="5"/>
              </a:xfrm>
              <a:custGeom>
                <a:avLst/>
                <a:gdLst>
                  <a:gd name="T0" fmla="*/ 0 w 6"/>
                  <a:gd name="T1" fmla="*/ 3 h 6"/>
                  <a:gd name="T2" fmla="*/ 0 w 6"/>
                  <a:gd name="T3" fmla="*/ 0 h 6"/>
                  <a:gd name="T4" fmla="*/ 3 w 6"/>
                  <a:gd name="T5" fmla="*/ 3 h 6"/>
                  <a:gd name="T6" fmla="*/ 0 w 6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49" name="Freeform 85"/>
              <p:cNvSpPr>
                <a:spLocks noChangeAspect="1"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4416" y="2544"/>
                <a:ext cx="0" cy="5"/>
              </a:xfrm>
              <a:custGeom>
                <a:avLst/>
                <a:gdLst>
                  <a:gd name="T0" fmla="*/ 0 h 6"/>
                  <a:gd name="T1" fmla="*/ 3 h 6"/>
                  <a:gd name="T2" fmla="*/ 0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</p:grpSp>
        <p:sp>
          <p:nvSpPr>
            <p:cNvPr id="14396" name="Freeform 86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3362" y="632"/>
              <a:ext cx="373" cy="270"/>
            </a:xfrm>
            <a:custGeom>
              <a:avLst/>
              <a:gdLst>
                <a:gd name="T0" fmla="*/ 1 w 600"/>
                <a:gd name="T1" fmla="*/ 31 h 414"/>
                <a:gd name="T2" fmla="*/ 2 w 600"/>
                <a:gd name="T3" fmla="*/ 30 h 414"/>
                <a:gd name="T4" fmla="*/ 4 w 600"/>
                <a:gd name="T5" fmla="*/ 29 h 414"/>
                <a:gd name="T6" fmla="*/ 6 w 600"/>
                <a:gd name="T7" fmla="*/ 29 h 414"/>
                <a:gd name="T8" fmla="*/ 6 w 600"/>
                <a:gd name="T9" fmla="*/ 27 h 414"/>
                <a:gd name="T10" fmla="*/ 7 w 600"/>
                <a:gd name="T11" fmla="*/ 26 h 414"/>
                <a:gd name="T12" fmla="*/ 9 w 600"/>
                <a:gd name="T13" fmla="*/ 25 h 414"/>
                <a:gd name="T14" fmla="*/ 9 w 600"/>
                <a:gd name="T15" fmla="*/ 23 h 414"/>
                <a:gd name="T16" fmla="*/ 10 w 600"/>
                <a:gd name="T17" fmla="*/ 22 h 414"/>
                <a:gd name="T18" fmla="*/ 9 w 600"/>
                <a:gd name="T19" fmla="*/ 20 h 414"/>
                <a:gd name="T20" fmla="*/ 9 w 600"/>
                <a:gd name="T21" fmla="*/ 18 h 414"/>
                <a:gd name="T22" fmla="*/ 10 w 600"/>
                <a:gd name="T23" fmla="*/ 16 h 414"/>
                <a:gd name="T24" fmla="*/ 11 w 600"/>
                <a:gd name="T25" fmla="*/ 15 h 414"/>
                <a:gd name="T26" fmla="*/ 11 w 600"/>
                <a:gd name="T27" fmla="*/ 13 h 414"/>
                <a:gd name="T28" fmla="*/ 12 w 600"/>
                <a:gd name="T29" fmla="*/ 12 h 414"/>
                <a:gd name="T30" fmla="*/ 14 w 600"/>
                <a:gd name="T31" fmla="*/ 10 h 414"/>
                <a:gd name="T32" fmla="*/ 15 w 600"/>
                <a:gd name="T33" fmla="*/ 9 h 414"/>
                <a:gd name="T34" fmla="*/ 16 w 600"/>
                <a:gd name="T35" fmla="*/ 8 h 414"/>
                <a:gd name="T36" fmla="*/ 17 w 600"/>
                <a:gd name="T37" fmla="*/ 8 h 414"/>
                <a:gd name="T38" fmla="*/ 19 w 600"/>
                <a:gd name="T39" fmla="*/ 7 h 414"/>
                <a:gd name="T40" fmla="*/ 19 w 600"/>
                <a:gd name="T41" fmla="*/ 5 h 414"/>
                <a:gd name="T42" fmla="*/ 20 w 600"/>
                <a:gd name="T43" fmla="*/ 2 h 414"/>
                <a:gd name="T44" fmla="*/ 21 w 600"/>
                <a:gd name="T45" fmla="*/ 1 h 414"/>
                <a:gd name="T46" fmla="*/ 22 w 600"/>
                <a:gd name="T47" fmla="*/ 0 h 414"/>
                <a:gd name="T48" fmla="*/ 23 w 600"/>
                <a:gd name="T49" fmla="*/ 1 h 414"/>
                <a:gd name="T50" fmla="*/ 24 w 600"/>
                <a:gd name="T51" fmla="*/ 3 h 414"/>
                <a:gd name="T52" fmla="*/ 25 w 600"/>
                <a:gd name="T53" fmla="*/ 3 h 414"/>
                <a:gd name="T54" fmla="*/ 27 w 600"/>
                <a:gd name="T55" fmla="*/ 3 h 414"/>
                <a:gd name="T56" fmla="*/ 28 w 600"/>
                <a:gd name="T57" fmla="*/ 3 h 414"/>
                <a:gd name="T58" fmla="*/ 29 w 600"/>
                <a:gd name="T59" fmla="*/ 3 h 414"/>
                <a:gd name="T60" fmla="*/ 29 w 600"/>
                <a:gd name="T61" fmla="*/ 3 h 414"/>
                <a:gd name="T62" fmla="*/ 29 w 600"/>
                <a:gd name="T63" fmla="*/ 3 h 414"/>
                <a:gd name="T64" fmla="*/ 31 w 600"/>
                <a:gd name="T65" fmla="*/ 3 h 414"/>
                <a:gd name="T66" fmla="*/ 32 w 600"/>
                <a:gd name="T67" fmla="*/ 5 h 414"/>
                <a:gd name="T68" fmla="*/ 33 w 600"/>
                <a:gd name="T69" fmla="*/ 5 h 414"/>
                <a:gd name="T70" fmla="*/ 33 w 600"/>
                <a:gd name="T71" fmla="*/ 8 h 414"/>
                <a:gd name="T72" fmla="*/ 33 w 600"/>
                <a:gd name="T73" fmla="*/ 9 h 414"/>
                <a:gd name="T74" fmla="*/ 33 w 600"/>
                <a:gd name="T75" fmla="*/ 11 h 414"/>
                <a:gd name="T76" fmla="*/ 35 w 600"/>
                <a:gd name="T77" fmla="*/ 13 h 414"/>
                <a:gd name="T78" fmla="*/ 34 w 600"/>
                <a:gd name="T79" fmla="*/ 15 h 414"/>
                <a:gd name="T80" fmla="*/ 33 w 600"/>
                <a:gd name="T81" fmla="*/ 14 h 414"/>
                <a:gd name="T82" fmla="*/ 31 w 600"/>
                <a:gd name="T83" fmla="*/ 14 h 414"/>
                <a:gd name="T84" fmla="*/ 29 w 600"/>
                <a:gd name="T85" fmla="*/ 15 h 414"/>
                <a:gd name="T86" fmla="*/ 29 w 600"/>
                <a:gd name="T87" fmla="*/ 16 h 414"/>
                <a:gd name="T88" fmla="*/ 27 w 600"/>
                <a:gd name="T89" fmla="*/ 16 h 414"/>
                <a:gd name="T90" fmla="*/ 27 w 600"/>
                <a:gd name="T91" fmla="*/ 18 h 414"/>
                <a:gd name="T92" fmla="*/ 27 w 600"/>
                <a:gd name="T93" fmla="*/ 20 h 414"/>
                <a:gd name="T94" fmla="*/ 26 w 600"/>
                <a:gd name="T95" fmla="*/ 20 h 414"/>
                <a:gd name="T96" fmla="*/ 24 w 600"/>
                <a:gd name="T97" fmla="*/ 20 h 414"/>
                <a:gd name="T98" fmla="*/ 24 w 600"/>
                <a:gd name="T99" fmla="*/ 22 h 414"/>
                <a:gd name="T100" fmla="*/ 22 w 600"/>
                <a:gd name="T101" fmla="*/ 23 h 414"/>
                <a:gd name="T102" fmla="*/ 21 w 600"/>
                <a:gd name="T103" fmla="*/ 23 h 414"/>
                <a:gd name="T104" fmla="*/ 19 w 600"/>
                <a:gd name="T105" fmla="*/ 24 h 414"/>
                <a:gd name="T106" fmla="*/ 18 w 600"/>
                <a:gd name="T107" fmla="*/ 24 h 414"/>
                <a:gd name="T108" fmla="*/ 17 w 600"/>
                <a:gd name="T109" fmla="*/ 24 h 414"/>
                <a:gd name="T110" fmla="*/ 16 w 600"/>
                <a:gd name="T111" fmla="*/ 25 h 414"/>
                <a:gd name="T112" fmla="*/ 14 w 600"/>
                <a:gd name="T113" fmla="*/ 26 h 414"/>
                <a:gd name="T114" fmla="*/ 13 w 600"/>
                <a:gd name="T115" fmla="*/ 27 h 414"/>
                <a:gd name="T116" fmla="*/ 0 w 600"/>
                <a:gd name="T117" fmla="*/ 31 h 4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00" h="414">
                  <a:moveTo>
                    <a:pt x="0" y="408"/>
                  </a:moveTo>
                  <a:lnTo>
                    <a:pt x="6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24" y="396"/>
                  </a:lnTo>
                  <a:lnTo>
                    <a:pt x="30" y="396"/>
                  </a:lnTo>
                  <a:lnTo>
                    <a:pt x="36" y="390"/>
                  </a:lnTo>
                  <a:lnTo>
                    <a:pt x="42" y="390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54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72" y="384"/>
                  </a:lnTo>
                  <a:lnTo>
                    <a:pt x="78" y="378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114" y="354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62" y="306"/>
                  </a:lnTo>
                  <a:lnTo>
                    <a:pt x="168" y="300"/>
                  </a:lnTo>
                  <a:lnTo>
                    <a:pt x="168" y="294"/>
                  </a:lnTo>
                  <a:lnTo>
                    <a:pt x="174" y="288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2" y="252"/>
                  </a:lnTo>
                  <a:lnTo>
                    <a:pt x="162" y="246"/>
                  </a:lnTo>
                  <a:lnTo>
                    <a:pt x="162" y="240"/>
                  </a:lnTo>
                  <a:lnTo>
                    <a:pt x="162" y="234"/>
                  </a:lnTo>
                  <a:lnTo>
                    <a:pt x="168" y="228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22"/>
                  </a:lnTo>
                  <a:lnTo>
                    <a:pt x="168" y="216"/>
                  </a:lnTo>
                  <a:lnTo>
                    <a:pt x="174" y="210"/>
                  </a:lnTo>
                  <a:lnTo>
                    <a:pt x="174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92"/>
                  </a:lnTo>
                  <a:lnTo>
                    <a:pt x="192" y="192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2" y="174"/>
                  </a:lnTo>
                  <a:lnTo>
                    <a:pt x="192" y="168"/>
                  </a:lnTo>
                  <a:lnTo>
                    <a:pt x="198" y="162"/>
                  </a:lnTo>
                  <a:lnTo>
                    <a:pt x="204" y="156"/>
                  </a:lnTo>
                  <a:lnTo>
                    <a:pt x="210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34" y="132"/>
                  </a:lnTo>
                  <a:lnTo>
                    <a:pt x="240" y="132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64" y="120"/>
                  </a:lnTo>
                  <a:lnTo>
                    <a:pt x="270" y="114"/>
                  </a:lnTo>
                  <a:lnTo>
                    <a:pt x="276" y="114"/>
                  </a:lnTo>
                  <a:lnTo>
                    <a:pt x="282" y="114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294" y="102"/>
                  </a:lnTo>
                  <a:lnTo>
                    <a:pt x="300" y="102"/>
                  </a:lnTo>
                  <a:lnTo>
                    <a:pt x="306" y="102"/>
                  </a:lnTo>
                  <a:lnTo>
                    <a:pt x="312" y="96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84"/>
                  </a:lnTo>
                  <a:lnTo>
                    <a:pt x="318" y="84"/>
                  </a:lnTo>
                  <a:lnTo>
                    <a:pt x="324" y="78"/>
                  </a:lnTo>
                  <a:lnTo>
                    <a:pt x="330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48" y="36"/>
                  </a:lnTo>
                  <a:lnTo>
                    <a:pt x="348" y="30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6"/>
                  </a:lnTo>
                  <a:lnTo>
                    <a:pt x="366" y="6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0"/>
                  </a:lnTo>
                  <a:lnTo>
                    <a:pt x="384" y="0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6" y="36"/>
                  </a:lnTo>
                  <a:lnTo>
                    <a:pt x="432" y="36"/>
                  </a:lnTo>
                  <a:lnTo>
                    <a:pt x="438" y="42"/>
                  </a:lnTo>
                  <a:lnTo>
                    <a:pt x="438" y="36"/>
                  </a:lnTo>
                  <a:lnTo>
                    <a:pt x="444" y="36"/>
                  </a:lnTo>
                  <a:lnTo>
                    <a:pt x="450" y="36"/>
                  </a:lnTo>
                  <a:lnTo>
                    <a:pt x="45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68" y="30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8" y="36"/>
                  </a:lnTo>
                  <a:lnTo>
                    <a:pt x="498" y="30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16" y="36"/>
                  </a:lnTo>
                  <a:lnTo>
                    <a:pt x="510" y="36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8" y="42"/>
                  </a:lnTo>
                  <a:lnTo>
                    <a:pt x="534" y="36"/>
                  </a:lnTo>
                  <a:lnTo>
                    <a:pt x="534" y="42"/>
                  </a:lnTo>
                  <a:lnTo>
                    <a:pt x="540" y="42"/>
                  </a:lnTo>
                  <a:lnTo>
                    <a:pt x="546" y="42"/>
                  </a:lnTo>
                  <a:lnTo>
                    <a:pt x="546" y="48"/>
                  </a:lnTo>
                  <a:lnTo>
                    <a:pt x="552" y="48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60"/>
                  </a:lnTo>
                  <a:lnTo>
                    <a:pt x="558" y="66"/>
                  </a:lnTo>
                  <a:lnTo>
                    <a:pt x="564" y="66"/>
                  </a:lnTo>
                  <a:lnTo>
                    <a:pt x="564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70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564" y="108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70" y="132"/>
                  </a:lnTo>
                  <a:lnTo>
                    <a:pt x="570" y="138"/>
                  </a:lnTo>
                  <a:lnTo>
                    <a:pt x="576" y="138"/>
                  </a:lnTo>
                  <a:lnTo>
                    <a:pt x="576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600" y="168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80"/>
                  </a:lnTo>
                  <a:lnTo>
                    <a:pt x="588" y="186"/>
                  </a:lnTo>
                  <a:lnTo>
                    <a:pt x="594" y="186"/>
                  </a:lnTo>
                  <a:lnTo>
                    <a:pt x="594" y="192"/>
                  </a:lnTo>
                  <a:lnTo>
                    <a:pt x="588" y="192"/>
                  </a:lnTo>
                  <a:lnTo>
                    <a:pt x="582" y="192"/>
                  </a:lnTo>
                  <a:lnTo>
                    <a:pt x="582" y="186"/>
                  </a:lnTo>
                  <a:lnTo>
                    <a:pt x="576" y="192"/>
                  </a:lnTo>
                  <a:lnTo>
                    <a:pt x="576" y="186"/>
                  </a:lnTo>
                  <a:lnTo>
                    <a:pt x="570" y="192"/>
                  </a:lnTo>
                  <a:lnTo>
                    <a:pt x="564" y="186"/>
                  </a:lnTo>
                  <a:lnTo>
                    <a:pt x="558" y="186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6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10" y="192"/>
                  </a:lnTo>
                  <a:lnTo>
                    <a:pt x="504" y="192"/>
                  </a:lnTo>
                  <a:lnTo>
                    <a:pt x="504" y="198"/>
                  </a:lnTo>
                  <a:lnTo>
                    <a:pt x="510" y="198"/>
                  </a:lnTo>
                  <a:lnTo>
                    <a:pt x="510" y="204"/>
                  </a:lnTo>
                  <a:lnTo>
                    <a:pt x="510" y="210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2" y="210"/>
                  </a:lnTo>
                  <a:lnTo>
                    <a:pt x="486" y="210"/>
                  </a:lnTo>
                  <a:lnTo>
                    <a:pt x="474" y="216"/>
                  </a:lnTo>
                  <a:lnTo>
                    <a:pt x="468" y="216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62" y="228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8" y="240"/>
                  </a:lnTo>
                  <a:lnTo>
                    <a:pt x="474" y="240"/>
                  </a:lnTo>
                  <a:lnTo>
                    <a:pt x="474" y="246"/>
                  </a:lnTo>
                  <a:lnTo>
                    <a:pt x="474" y="252"/>
                  </a:lnTo>
                  <a:lnTo>
                    <a:pt x="468" y="252"/>
                  </a:lnTo>
                  <a:lnTo>
                    <a:pt x="462" y="252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44" y="258"/>
                  </a:lnTo>
                  <a:lnTo>
                    <a:pt x="438" y="258"/>
                  </a:lnTo>
                  <a:lnTo>
                    <a:pt x="432" y="258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0" y="264"/>
                  </a:lnTo>
                  <a:lnTo>
                    <a:pt x="414" y="264"/>
                  </a:lnTo>
                  <a:lnTo>
                    <a:pt x="408" y="264"/>
                  </a:lnTo>
                  <a:lnTo>
                    <a:pt x="408" y="270"/>
                  </a:lnTo>
                  <a:lnTo>
                    <a:pt x="408" y="276"/>
                  </a:lnTo>
                  <a:lnTo>
                    <a:pt x="408" y="282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402" y="294"/>
                  </a:lnTo>
                  <a:lnTo>
                    <a:pt x="396" y="294"/>
                  </a:lnTo>
                  <a:lnTo>
                    <a:pt x="390" y="294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78" y="300"/>
                  </a:lnTo>
                  <a:lnTo>
                    <a:pt x="372" y="306"/>
                  </a:lnTo>
                  <a:lnTo>
                    <a:pt x="366" y="306"/>
                  </a:lnTo>
                  <a:lnTo>
                    <a:pt x="360" y="306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42" y="312"/>
                  </a:lnTo>
                  <a:lnTo>
                    <a:pt x="336" y="312"/>
                  </a:lnTo>
                  <a:lnTo>
                    <a:pt x="330" y="312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8" y="318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0" y="312"/>
                  </a:lnTo>
                  <a:lnTo>
                    <a:pt x="294" y="312"/>
                  </a:lnTo>
                  <a:lnTo>
                    <a:pt x="294" y="318"/>
                  </a:lnTo>
                  <a:lnTo>
                    <a:pt x="288" y="318"/>
                  </a:lnTo>
                  <a:lnTo>
                    <a:pt x="288" y="324"/>
                  </a:lnTo>
                  <a:lnTo>
                    <a:pt x="282" y="324"/>
                  </a:lnTo>
                  <a:lnTo>
                    <a:pt x="276" y="324"/>
                  </a:lnTo>
                  <a:lnTo>
                    <a:pt x="270" y="324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64" y="336"/>
                  </a:lnTo>
                  <a:lnTo>
                    <a:pt x="258" y="336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8"/>
                  </a:lnTo>
                  <a:lnTo>
                    <a:pt x="234" y="348"/>
                  </a:lnTo>
                  <a:lnTo>
                    <a:pt x="234" y="354"/>
                  </a:lnTo>
                  <a:lnTo>
                    <a:pt x="228" y="354"/>
                  </a:lnTo>
                  <a:lnTo>
                    <a:pt x="222" y="360"/>
                  </a:lnTo>
                  <a:lnTo>
                    <a:pt x="222" y="414"/>
                  </a:lnTo>
                  <a:lnTo>
                    <a:pt x="150" y="408"/>
                  </a:lnTo>
                  <a:lnTo>
                    <a:pt x="78" y="408"/>
                  </a:lnTo>
                  <a:lnTo>
                    <a:pt x="66" y="408"/>
                  </a:lnTo>
                  <a:lnTo>
                    <a:pt x="0" y="40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97" name="Freeform 87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3240" y="911"/>
              <a:ext cx="378" cy="407"/>
            </a:xfrm>
            <a:custGeom>
              <a:avLst/>
              <a:gdLst>
                <a:gd name="T0" fmla="*/ 32 w 612"/>
                <a:gd name="T1" fmla="*/ 6 h 624"/>
                <a:gd name="T2" fmla="*/ 29 w 612"/>
                <a:gd name="T3" fmla="*/ 8 h 624"/>
                <a:gd name="T4" fmla="*/ 30 w 612"/>
                <a:gd name="T5" fmla="*/ 15 h 624"/>
                <a:gd name="T6" fmla="*/ 30 w 612"/>
                <a:gd name="T7" fmla="*/ 18 h 624"/>
                <a:gd name="T8" fmla="*/ 30 w 612"/>
                <a:gd name="T9" fmla="*/ 27 h 624"/>
                <a:gd name="T10" fmla="*/ 32 w 612"/>
                <a:gd name="T11" fmla="*/ 31 h 624"/>
                <a:gd name="T12" fmla="*/ 32 w 612"/>
                <a:gd name="T13" fmla="*/ 40 h 624"/>
                <a:gd name="T14" fmla="*/ 32 w 612"/>
                <a:gd name="T15" fmla="*/ 45 h 624"/>
                <a:gd name="T16" fmla="*/ 27 w 612"/>
                <a:gd name="T17" fmla="*/ 45 h 624"/>
                <a:gd name="T18" fmla="*/ 24 w 612"/>
                <a:gd name="T19" fmla="*/ 45 h 624"/>
                <a:gd name="T20" fmla="*/ 22 w 612"/>
                <a:gd name="T21" fmla="*/ 44 h 624"/>
                <a:gd name="T22" fmla="*/ 20 w 612"/>
                <a:gd name="T23" fmla="*/ 45 h 624"/>
                <a:gd name="T24" fmla="*/ 19 w 612"/>
                <a:gd name="T25" fmla="*/ 45 h 624"/>
                <a:gd name="T26" fmla="*/ 17 w 612"/>
                <a:gd name="T27" fmla="*/ 46 h 624"/>
                <a:gd name="T28" fmla="*/ 17 w 612"/>
                <a:gd name="T29" fmla="*/ 47 h 624"/>
                <a:gd name="T30" fmla="*/ 17 w 612"/>
                <a:gd name="T31" fmla="*/ 45 h 624"/>
                <a:gd name="T32" fmla="*/ 15 w 612"/>
                <a:gd name="T33" fmla="*/ 44 h 624"/>
                <a:gd name="T34" fmla="*/ 14 w 612"/>
                <a:gd name="T35" fmla="*/ 45 h 624"/>
                <a:gd name="T36" fmla="*/ 14 w 612"/>
                <a:gd name="T37" fmla="*/ 47 h 624"/>
                <a:gd name="T38" fmla="*/ 14 w 612"/>
                <a:gd name="T39" fmla="*/ 48 h 624"/>
                <a:gd name="T40" fmla="*/ 12 w 612"/>
                <a:gd name="T41" fmla="*/ 47 h 624"/>
                <a:gd name="T42" fmla="*/ 12 w 612"/>
                <a:gd name="T43" fmla="*/ 46 h 624"/>
                <a:gd name="T44" fmla="*/ 12 w 612"/>
                <a:gd name="T45" fmla="*/ 45 h 624"/>
                <a:gd name="T46" fmla="*/ 11 w 612"/>
                <a:gd name="T47" fmla="*/ 44 h 624"/>
                <a:gd name="T48" fmla="*/ 11 w 612"/>
                <a:gd name="T49" fmla="*/ 42 h 624"/>
                <a:gd name="T50" fmla="*/ 9 w 612"/>
                <a:gd name="T51" fmla="*/ 42 h 624"/>
                <a:gd name="T52" fmla="*/ 9 w 612"/>
                <a:gd name="T53" fmla="*/ 41 h 624"/>
                <a:gd name="T54" fmla="*/ 7 w 612"/>
                <a:gd name="T55" fmla="*/ 40 h 624"/>
                <a:gd name="T56" fmla="*/ 6 w 612"/>
                <a:gd name="T57" fmla="*/ 40 h 624"/>
                <a:gd name="T58" fmla="*/ 6 w 612"/>
                <a:gd name="T59" fmla="*/ 40 h 624"/>
                <a:gd name="T60" fmla="*/ 6 w 612"/>
                <a:gd name="T61" fmla="*/ 40 h 624"/>
                <a:gd name="T62" fmla="*/ 4 w 612"/>
                <a:gd name="T63" fmla="*/ 40 h 624"/>
                <a:gd name="T64" fmla="*/ 4 w 612"/>
                <a:gd name="T65" fmla="*/ 41 h 624"/>
                <a:gd name="T66" fmla="*/ 2 w 612"/>
                <a:gd name="T67" fmla="*/ 40 h 624"/>
                <a:gd name="T68" fmla="*/ 2 w 612"/>
                <a:gd name="T69" fmla="*/ 42 h 624"/>
                <a:gd name="T70" fmla="*/ 1 w 612"/>
                <a:gd name="T71" fmla="*/ 42 h 624"/>
                <a:gd name="T72" fmla="*/ 1 w 612"/>
                <a:gd name="T73" fmla="*/ 42 h 624"/>
                <a:gd name="T74" fmla="*/ 2 w 612"/>
                <a:gd name="T75" fmla="*/ 40 h 624"/>
                <a:gd name="T76" fmla="*/ 2 w 612"/>
                <a:gd name="T77" fmla="*/ 37 h 624"/>
                <a:gd name="T78" fmla="*/ 2 w 612"/>
                <a:gd name="T79" fmla="*/ 35 h 624"/>
                <a:gd name="T80" fmla="*/ 2 w 612"/>
                <a:gd name="T81" fmla="*/ 33 h 624"/>
                <a:gd name="T82" fmla="*/ 2 w 612"/>
                <a:gd name="T83" fmla="*/ 31 h 624"/>
                <a:gd name="T84" fmla="*/ 2 w 612"/>
                <a:gd name="T85" fmla="*/ 30 h 624"/>
                <a:gd name="T86" fmla="*/ 2 w 612"/>
                <a:gd name="T87" fmla="*/ 30 h 624"/>
                <a:gd name="T88" fmla="*/ 2 w 612"/>
                <a:gd name="T89" fmla="*/ 29 h 624"/>
                <a:gd name="T90" fmla="*/ 2 w 612"/>
                <a:gd name="T91" fmla="*/ 27 h 624"/>
                <a:gd name="T92" fmla="*/ 2 w 612"/>
                <a:gd name="T93" fmla="*/ 26 h 624"/>
                <a:gd name="T94" fmla="*/ 1 w 612"/>
                <a:gd name="T95" fmla="*/ 25 h 624"/>
                <a:gd name="T96" fmla="*/ 1 w 612"/>
                <a:gd name="T97" fmla="*/ 25 h 624"/>
                <a:gd name="T98" fmla="*/ 1 w 612"/>
                <a:gd name="T99" fmla="*/ 24 h 624"/>
                <a:gd name="T100" fmla="*/ 1 w 612"/>
                <a:gd name="T101" fmla="*/ 23 h 624"/>
                <a:gd name="T102" fmla="*/ 1 w 612"/>
                <a:gd name="T103" fmla="*/ 23 h 624"/>
                <a:gd name="T104" fmla="*/ 1 w 612"/>
                <a:gd name="T105" fmla="*/ 23 h 624"/>
                <a:gd name="T106" fmla="*/ 1 w 612"/>
                <a:gd name="T107" fmla="*/ 24 h 624"/>
                <a:gd name="T108" fmla="*/ 0 w 612"/>
                <a:gd name="T109" fmla="*/ 25 h 624"/>
                <a:gd name="T110" fmla="*/ 1 w 612"/>
                <a:gd name="T111" fmla="*/ 23 h 624"/>
                <a:gd name="T112" fmla="*/ 6 w 612"/>
                <a:gd name="T113" fmla="*/ 23 h 624"/>
                <a:gd name="T114" fmla="*/ 11 w 612"/>
                <a:gd name="T115" fmla="*/ 20 h 624"/>
                <a:gd name="T116" fmla="*/ 12 w 612"/>
                <a:gd name="T117" fmla="*/ 16 h 624"/>
                <a:gd name="T118" fmla="*/ 12 w 612"/>
                <a:gd name="T119" fmla="*/ 15 h 624"/>
                <a:gd name="T120" fmla="*/ 14 w 612"/>
                <a:gd name="T121" fmla="*/ 5 h 6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12" h="624">
                  <a:moveTo>
                    <a:pt x="420" y="0"/>
                  </a:moveTo>
                  <a:lnTo>
                    <a:pt x="474" y="30"/>
                  </a:lnTo>
                  <a:lnTo>
                    <a:pt x="504" y="42"/>
                  </a:lnTo>
                  <a:lnTo>
                    <a:pt x="558" y="78"/>
                  </a:lnTo>
                  <a:lnTo>
                    <a:pt x="582" y="96"/>
                  </a:lnTo>
                  <a:lnTo>
                    <a:pt x="612" y="114"/>
                  </a:lnTo>
                  <a:lnTo>
                    <a:pt x="600" y="114"/>
                  </a:lnTo>
                  <a:lnTo>
                    <a:pt x="522" y="114"/>
                  </a:lnTo>
                  <a:lnTo>
                    <a:pt x="522" y="120"/>
                  </a:lnTo>
                  <a:lnTo>
                    <a:pt x="528" y="162"/>
                  </a:lnTo>
                  <a:lnTo>
                    <a:pt x="534" y="180"/>
                  </a:lnTo>
                  <a:lnTo>
                    <a:pt x="534" y="192"/>
                  </a:lnTo>
                  <a:lnTo>
                    <a:pt x="534" y="198"/>
                  </a:lnTo>
                  <a:lnTo>
                    <a:pt x="534" y="204"/>
                  </a:lnTo>
                  <a:lnTo>
                    <a:pt x="534" y="210"/>
                  </a:lnTo>
                  <a:lnTo>
                    <a:pt x="540" y="228"/>
                  </a:lnTo>
                  <a:lnTo>
                    <a:pt x="540" y="252"/>
                  </a:lnTo>
                  <a:lnTo>
                    <a:pt x="546" y="306"/>
                  </a:lnTo>
                  <a:lnTo>
                    <a:pt x="552" y="342"/>
                  </a:lnTo>
                  <a:lnTo>
                    <a:pt x="552" y="354"/>
                  </a:lnTo>
                  <a:lnTo>
                    <a:pt x="552" y="360"/>
                  </a:lnTo>
                  <a:lnTo>
                    <a:pt x="552" y="366"/>
                  </a:lnTo>
                  <a:lnTo>
                    <a:pt x="552" y="384"/>
                  </a:lnTo>
                  <a:lnTo>
                    <a:pt x="558" y="396"/>
                  </a:lnTo>
                  <a:lnTo>
                    <a:pt x="564" y="462"/>
                  </a:lnTo>
                  <a:lnTo>
                    <a:pt x="564" y="468"/>
                  </a:lnTo>
                  <a:lnTo>
                    <a:pt x="564" y="486"/>
                  </a:lnTo>
                  <a:lnTo>
                    <a:pt x="570" y="510"/>
                  </a:lnTo>
                  <a:lnTo>
                    <a:pt x="570" y="534"/>
                  </a:lnTo>
                  <a:lnTo>
                    <a:pt x="588" y="540"/>
                  </a:lnTo>
                  <a:lnTo>
                    <a:pt x="576" y="582"/>
                  </a:lnTo>
                  <a:lnTo>
                    <a:pt x="570" y="582"/>
                  </a:lnTo>
                  <a:lnTo>
                    <a:pt x="552" y="582"/>
                  </a:lnTo>
                  <a:lnTo>
                    <a:pt x="516" y="582"/>
                  </a:lnTo>
                  <a:lnTo>
                    <a:pt x="498" y="582"/>
                  </a:lnTo>
                  <a:lnTo>
                    <a:pt x="492" y="582"/>
                  </a:lnTo>
                  <a:lnTo>
                    <a:pt x="468" y="582"/>
                  </a:lnTo>
                  <a:lnTo>
                    <a:pt x="456" y="582"/>
                  </a:lnTo>
                  <a:lnTo>
                    <a:pt x="438" y="582"/>
                  </a:lnTo>
                  <a:lnTo>
                    <a:pt x="432" y="582"/>
                  </a:lnTo>
                  <a:lnTo>
                    <a:pt x="420" y="582"/>
                  </a:lnTo>
                  <a:lnTo>
                    <a:pt x="384" y="582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78" y="576"/>
                  </a:lnTo>
                  <a:lnTo>
                    <a:pt x="384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18" y="588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600"/>
                  </a:lnTo>
                  <a:lnTo>
                    <a:pt x="306" y="600"/>
                  </a:lnTo>
                  <a:lnTo>
                    <a:pt x="306" y="606"/>
                  </a:lnTo>
                  <a:lnTo>
                    <a:pt x="306" y="600"/>
                  </a:lnTo>
                  <a:lnTo>
                    <a:pt x="306" y="594"/>
                  </a:lnTo>
                  <a:lnTo>
                    <a:pt x="300" y="594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64" y="582"/>
                  </a:lnTo>
                  <a:lnTo>
                    <a:pt x="264" y="588"/>
                  </a:lnTo>
                  <a:lnTo>
                    <a:pt x="264" y="594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64" y="612"/>
                  </a:lnTo>
                  <a:lnTo>
                    <a:pt x="258" y="618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46" y="618"/>
                  </a:lnTo>
                  <a:lnTo>
                    <a:pt x="240" y="618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28" y="612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0"/>
                  </a:lnTo>
                  <a:lnTo>
                    <a:pt x="210" y="600"/>
                  </a:lnTo>
                  <a:lnTo>
                    <a:pt x="210" y="594"/>
                  </a:lnTo>
                  <a:lnTo>
                    <a:pt x="204" y="588"/>
                  </a:lnTo>
                  <a:lnTo>
                    <a:pt x="210" y="588"/>
                  </a:lnTo>
                  <a:lnTo>
                    <a:pt x="204" y="588"/>
                  </a:lnTo>
                  <a:lnTo>
                    <a:pt x="204" y="582"/>
                  </a:lnTo>
                  <a:lnTo>
                    <a:pt x="198" y="582"/>
                  </a:lnTo>
                  <a:lnTo>
                    <a:pt x="198" y="576"/>
                  </a:lnTo>
                  <a:lnTo>
                    <a:pt x="192" y="576"/>
                  </a:lnTo>
                  <a:lnTo>
                    <a:pt x="192" y="570"/>
                  </a:lnTo>
                  <a:lnTo>
                    <a:pt x="186" y="564"/>
                  </a:lnTo>
                  <a:lnTo>
                    <a:pt x="186" y="558"/>
                  </a:lnTo>
                  <a:lnTo>
                    <a:pt x="180" y="552"/>
                  </a:lnTo>
                  <a:lnTo>
                    <a:pt x="174" y="552"/>
                  </a:lnTo>
                  <a:lnTo>
                    <a:pt x="168" y="552"/>
                  </a:lnTo>
                  <a:lnTo>
                    <a:pt x="162" y="552"/>
                  </a:lnTo>
                  <a:lnTo>
                    <a:pt x="162" y="546"/>
                  </a:lnTo>
                  <a:lnTo>
                    <a:pt x="156" y="546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28"/>
                  </a:lnTo>
                  <a:lnTo>
                    <a:pt x="138" y="528"/>
                  </a:lnTo>
                  <a:lnTo>
                    <a:pt x="132" y="528"/>
                  </a:lnTo>
                  <a:lnTo>
                    <a:pt x="126" y="528"/>
                  </a:lnTo>
                  <a:lnTo>
                    <a:pt x="120" y="528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8" y="522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8"/>
                  </a:lnTo>
                  <a:lnTo>
                    <a:pt x="78" y="534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48" y="534"/>
                  </a:lnTo>
                  <a:lnTo>
                    <a:pt x="48" y="528"/>
                  </a:lnTo>
                  <a:lnTo>
                    <a:pt x="48" y="534"/>
                  </a:lnTo>
                  <a:lnTo>
                    <a:pt x="42" y="534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30" y="552"/>
                  </a:lnTo>
                  <a:lnTo>
                    <a:pt x="30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6" y="528"/>
                  </a:lnTo>
                  <a:lnTo>
                    <a:pt x="36" y="522"/>
                  </a:lnTo>
                  <a:lnTo>
                    <a:pt x="36" y="516"/>
                  </a:lnTo>
                  <a:lnTo>
                    <a:pt x="48" y="498"/>
                  </a:lnTo>
                  <a:lnTo>
                    <a:pt x="48" y="486"/>
                  </a:lnTo>
                  <a:lnTo>
                    <a:pt x="54" y="480"/>
                  </a:lnTo>
                  <a:lnTo>
                    <a:pt x="54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54" y="444"/>
                  </a:lnTo>
                  <a:lnTo>
                    <a:pt x="54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08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0" y="396"/>
                  </a:lnTo>
                  <a:lnTo>
                    <a:pt x="30" y="390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42" y="384"/>
                  </a:lnTo>
                  <a:lnTo>
                    <a:pt x="36" y="384"/>
                  </a:lnTo>
                  <a:lnTo>
                    <a:pt x="36" y="390"/>
                  </a:lnTo>
                  <a:lnTo>
                    <a:pt x="30" y="390"/>
                  </a:lnTo>
                  <a:lnTo>
                    <a:pt x="30" y="384"/>
                  </a:lnTo>
                  <a:lnTo>
                    <a:pt x="36" y="384"/>
                  </a:lnTo>
                  <a:lnTo>
                    <a:pt x="36" y="378"/>
                  </a:lnTo>
                  <a:lnTo>
                    <a:pt x="42" y="378"/>
                  </a:lnTo>
                  <a:lnTo>
                    <a:pt x="42" y="372"/>
                  </a:lnTo>
                  <a:lnTo>
                    <a:pt x="42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8" y="348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6" y="330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8" y="312"/>
                  </a:lnTo>
                  <a:lnTo>
                    <a:pt x="12" y="312"/>
                  </a:lnTo>
                  <a:lnTo>
                    <a:pt x="12" y="306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6" y="306"/>
                  </a:lnTo>
                  <a:lnTo>
                    <a:pt x="6" y="312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0" y="312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294"/>
                  </a:lnTo>
                  <a:lnTo>
                    <a:pt x="12" y="294"/>
                  </a:lnTo>
                  <a:lnTo>
                    <a:pt x="60" y="294"/>
                  </a:lnTo>
                  <a:lnTo>
                    <a:pt x="108" y="294"/>
                  </a:lnTo>
                  <a:lnTo>
                    <a:pt x="162" y="294"/>
                  </a:lnTo>
                  <a:lnTo>
                    <a:pt x="204" y="294"/>
                  </a:lnTo>
                  <a:lnTo>
                    <a:pt x="204" y="276"/>
                  </a:lnTo>
                  <a:lnTo>
                    <a:pt x="198" y="264"/>
                  </a:lnTo>
                  <a:lnTo>
                    <a:pt x="198" y="222"/>
                  </a:lnTo>
                  <a:lnTo>
                    <a:pt x="198" y="210"/>
                  </a:lnTo>
                  <a:lnTo>
                    <a:pt x="204" y="210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210" y="198"/>
                  </a:lnTo>
                  <a:lnTo>
                    <a:pt x="210" y="192"/>
                  </a:lnTo>
                  <a:lnTo>
                    <a:pt x="216" y="192"/>
                  </a:lnTo>
                  <a:lnTo>
                    <a:pt x="246" y="186"/>
                  </a:lnTo>
                  <a:lnTo>
                    <a:pt x="252" y="186"/>
                  </a:lnTo>
                  <a:lnTo>
                    <a:pt x="252" y="120"/>
                  </a:lnTo>
                  <a:lnTo>
                    <a:pt x="252" y="60"/>
                  </a:lnTo>
                  <a:lnTo>
                    <a:pt x="420" y="60"/>
                  </a:lnTo>
                  <a:lnTo>
                    <a:pt x="420" y="6"/>
                  </a:lnTo>
                  <a:lnTo>
                    <a:pt x="420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98" name="Freeform 88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3240" y="899"/>
              <a:ext cx="262" cy="225"/>
            </a:xfrm>
            <a:custGeom>
              <a:avLst/>
              <a:gdLst>
                <a:gd name="T0" fmla="*/ 16 w 420"/>
                <a:gd name="T1" fmla="*/ 0 h 348"/>
                <a:gd name="T2" fmla="*/ 20 w 420"/>
                <a:gd name="T3" fmla="*/ 0 h 348"/>
                <a:gd name="T4" fmla="*/ 25 w 420"/>
                <a:gd name="T5" fmla="*/ 2 h 348"/>
                <a:gd name="T6" fmla="*/ 25 w 420"/>
                <a:gd name="T7" fmla="*/ 6 h 348"/>
                <a:gd name="T8" fmla="*/ 15 w 420"/>
                <a:gd name="T9" fmla="*/ 10 h 348"/>
                <a:gd name="T10" fmla="*/ 14 w 420"/>
                <a:gd name="T11" fmla="*/ 16 h 348"/>
                <a:gd name="T12" fmla="*/ 12 w 420"/>
                <a:gd name="T13" fmla="*/ 16 h 348"/>
                <a:gd name="T14" fmla="*/ 12 w 420"/>
                <a:gd name="T15" fmla="*/ 16 h 348"/>
                <a:gd name="T16" fmla="*/ 12 w 420"/>
                <a:gd name="T17" fmla="*/ 17 h 348"/>
                <a:gd name="T18" fmla="*/ 12 w 420"/>
                <a:gd name="T19" fmla="*/ 18 h 348"/>
                <a:gd name="T20" fmla="*/ 12 w 420"/>
                <a:gd name="T21" fmla="*/ 22 h 348"/>
                <a:gd name="T22" fmla="*/ 9 w 420"/>
                <a:gd name="T23" fmla="*/ 23 h 348"/>
                <a:gd name="T24" fmla="*/ 4 w 420"/>
                <a:gd name="T25" fmla="*/ 23 h 348"/>
                <a:gd name="T26" fmla="*/ 1 w 420"/>
                <a:gd name="T27" fmla="*/ 23 h 348"/>
                <a:gd name="T28" fmla="*/ 1 w 420"/>
                <a:gd name="T29" fmla="*/ 25 h 348"/>
                <a:gd name="T30" fmla="*/ 0 w 420"/>
                <a:gd name="T31" fmla="*/ 25 h 348"/>
                <a:gd name="T32" fmla="*/ 0 w 420"/>
                <a:gd name="T33" fmla="*/ 25 h 348"/>
                <a:gd name="T34" fmla="*/ 0 w 420"/>
                <a:gd name="T35" fmla="*/ 25 h 348"/>
                <a:gd name="T36" fmla="*/ 1 w 420"/>
                <a:gd name="T37" fmla="*/ 23 h 348"/>
                <a:gd name="T38" fmla="*/ 1 w 420"/>
                <a:gd name="T39" fmla="*/ 23 h 348"/>
                <a:gd name="T40" fmla="*/ 1 w 420"/>
                <a:gd name="T41" fmla="*/ 22 h 348"/>
                <a:gd name="T42" fmla="*/ 1 w 420"/>
                <a:gd name="T43" fmla="*/ 21 h 348"/>
                <a:gd name="T44" fmla="*/ 1 w 420"/>
                <a:gd name="T45" fmla="*/ 20 h 348"/>
                <a:gd name="T46" fmla="*/ 1 w 420"/>
                <a:gd name="T47" fmla="*/ 19 h 348"/>
                <a:gd name="T48" fmla="*/ 1 w 420"/>
                <a:gd name="T49" fmla="*/ 19 h 348"/>
                <a:gd name="T50" fmla="*/ 2 w 420"/>
                <a:gd name="T51" fmla="*/ 18 h 348"/>
                <a:gd name="T52" fmla="*/ 2 w 420"/>
                <a:gd name="T53" fmla="*/ 18 h 348"/>
                <a:gd name="T54" fmla="*/ 2 w 420"/>
                <a:gd name="T55" fmla="*/ 17 h 348"/>
                <a:gd name="T56" fmla="*/ 2 w 420"/>
                <a:gd name="T57" fmla="*/ 16 h 348"/>
                <a:gd name="T58" fmla="*/ 2 w 420"/>
                <a:gd name="T59" fmla="*/ 16 h 348"/>
                <a:gd name="T60" fmla="*/ 3 w 420"/>
                <a:gd name="T61" fmla="*/ 16 h 348"/>
                <a:gd name="T62" fmla="*/ 4 w 420"/>
                <a:gd name="T63" fmla="*/ 16 h 348"/>
                <a:gd name="T64" fmla="*/ 4 w 420"/>
                <a:gd name="T65" fmla="*/ 16 h 348"/>
                <a:gd name="T66" fmla="*/ 4 w 420"/>
                <a:gd name="T67" fmla="*/ 15 h 348"/>
                <a:gd name="T68" fmla="*/ 4 w 420"/>
                <a:gd name="T69" fmla="*/ 14 h 348"/>
                <a:gd name="T70" fmla="*/ 4 w 420"/>
                <a:gd name="T71" fmla="*/ 14 h 348"/>
                <a:gd name="T72" fmla="*/ 4 w 420"/>
                <a:gd name="T73" fmla="*/ 14 h 348"/>
                <a:gd name="T74" fmla="*/ 4 w 420"/>
                <a:gd name="T75" fmla="*/ 15 h 348"/>
                <a:gd name="T76" fmla="*/ 3 w 420"/>
                <a:gd name="T77" fmla="*/ 15 h 348"/>
                <a:gd name="T78" fmla="*/ 4 w 420"/>
                <a:gd name="T79" fmla="*/ 14 h 348"/>
                <a:gd name="T80" fmla="*/ 4 w 420"/>
                <a:gd name="T81" fmla="*/ 14 h 348"/>
                <a:gd name="T82" fmla="*/ 4 w 420"/>
                <a:gd name="T83" fmla="*/ 13 h 348"/>
                <a:gd name="T84" fmla="*/ 4 w 420"/>
                <a:gd name="T85" fmla="*/ 12 h 348"/>
                <a:gd name="T86" fmla="*/ 6 w 420"/>
                <a:gd name="T87" fmla="*/ 12 h 348"/>
                <a:gd name="T88" fmla="*/ 6 w 420"/>
                <a:gd name="T89" fmla="*/ 11 h 348"/>
                <a:gd name="T90" fmla="*/ 6 w 420"/>
                <a:gd name="T91" fmla="*/ 11 h 348"/>
                <a:gd name="T92" fmla="*/ 7 w 420"/>
                <a:gd name="T93" fmla="*/ 10 h 348"/>
                <a:gd name="T94" fmla="*/ 7 w 420"/>
                <a:gd name="T95" fmla="*/ 9 h 348"/>
                <a:gd name="T96" fmla="*/ 7 w 420"/>
                <a:gd name="T97" fmla="*/ 8 h 348"/>
                <a:gd name="T98" fmla="*/ 7 w 420"/>
                <a:gd name="T99" fmla="*/ 8 h 348"/>
                <a:gd name="T100" fmla="*/ 7 w 420"/>
                <a:gd name="T101" fmla="*/ 7 h 348"/>
                <a:gd name="T102" fmla="*/ 7 w 420"/>
                <a:gd name="T103" fmla="*/ 6 h 348"/>
                <a:gd name="T104" fmla="*/ 7 w 420"/>
                <a:gd name="T105" fmla="*/ 5 h 348"/>
                <a:gd name="T106" fmla="*/ 9 w 420"/>
                <a:gd name="T107" fmla="*/ 5 h 348"/>
                <a:gd name="T108" fmla="*/ 9 w 420"/>
                <a:gd name="T109" fmla="*/ 4 h 348"/>
                <a:gd name="T110" fmla="*/ 10 w 420"/>
                <a:gd name="T111" fmla="*/ 4 h 348"/>
                <a:gd name="T112" fmla="*/ 11 w 420"/>
                <a:gd name="T113" fmla="*/ 3 h 348"/>
                <a:gd name="T114" fmla="*/ 11 w 420"/>
                <a:gd name="T115" fmla="*/ 2 h 348"/>
                <a:gd name="T116" fmla="*/ 11 w 420"/>
                <a:gd name="T117" fmla="*/ 2 h 348"/>
                <a:gd name="T118" fmla="*/ 11 w 420"/>
                <a:gd name="T119" fmla="*/ 1 h 348"/>
                <a:gd name="T120" fmla="*/ 11 w 420"/>
                <a:gd name="T121" fmla="*/ 1 h 348"/>
                <a:gd name="T122" fmla="*/ 11 w 420"/>
                <a:gd name="T123" fmla="*/ 1 h 348"/>
                <a:gd name="T124" fmla="*/ 12 w 420"/>
                <a:gd name="T125" fmla="*/ 0 h 3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0" h="348">
                  <a:moveTo>
                    <a:pt x="198" y="0"/>
                  </a:moveTo>
                  <a:lnTo>
                    <a:pt x="264" y="0"/>
                  </a:lnTo>
                  <a:lnTo>
                    <a:pt x="276" y="0"/>
                  </a:lnTo>
                  <a:lnTo>
                    <a:pt x="348" y="0"/>
                  </a:lnTo>
                  <a:lnTo>
                    <a:pt x="420" y="6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84"/>
                  </a:lnTo>
                  <a:lnTo>
                    <a:pt x="252" y="84"/>
                  </a:lnTo>
                  <a:lnTo>
                    <a:pt x="252" y="144"/>
                  </a:lnTo>
                  <a:lnTo>
                    <a:pt x="252" y="210"/>
                  </a:lnTo>
                  <a:lnTo>
                    <a:pt x="246" y="210"/>
                  </a:lnTo>
                  <a:lnTo>
                    <a:pt x="216" y="216"/>
                  </a:lnTo>
                  <a:lnTo>
                    <a:pt x="210" y="216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04" y="234"/>
                  </a:lnTo>
                  <a:lnTo>
                    <a:pt x="198" y="234"/>
                  </a:lnTo>
                  <a:lnTo>
                    <a:pt x="198" y="246"/>
                  </a:lnTo>
                  <a:lnTo>
                    <a:pt x="198" y="288"/>
                  </a:lnTo>
                  <a:lnTo>
                    <a:pt x="204" y="300"/>
                  </a:lnTo>
                  <a:lnTo>
                    <a:pt x="204" y="318"/>
                  </a:lnTo>
                  <a:lnTo>
                    <a:pt x="162" y="318"/>
                  </a:lnTo>
                  <a:lnTo>
                    <a:pt x="108" y="318"/>
                  </a:lnTo>
                  <a:lnTo>
                    <a:pt x="60" y="318"/>
                  </a:lnTo>
                  <a:lnTo>
                    <a:pt x="12" y="318"/>
                  </a:lnTo>
                  <a:lnTo>
                    <a:pt x="6" y="318"/>
                  </a:lnTo>
                  <a:lnTo>
                    <a:pt x="6" y="330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0" y="330"/>
                  </a:lnTo>
                  <a:lnTo>
                    <a:pt x="6" y="324"/>
                  </a:lnTo>
                  <a:lnTo>
                    <a:pt x="6" y="318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300"/>
                  </a:lnTo>
                  <a:lnTo>
                    <a:pt x="6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70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8" y="228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60" y="192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8"/>
                  </a:lnTo>
                  <a:lnTo>
                    <a:pt x="60" y="192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26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80" y="48"/>
                  </a:lnTo>
                  <a:lnTo>
                    <a:pt x="180" y="42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399" name="Freeform 89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auto">
            <a:xfrm>
              <a:off x="3502" y="595"/>
              <a:ext cx="632" cy="586"/>
            </a:xfrm>
            <a:custGeom>
              <a:avLst/>
              <a:gdLst>
                <a:gd name="T0" fmla="*/ 1 w 1026"/>
                <a:gd name="T1" fmla="*/ 30 h 906"/>
                <a:gd name="T2" fmla="*/ 2 w 1026"/>
                <a:gd name="T3" fmla="*/ 28 h 906"/>
                <a:gd name="T4" fmla="*/ 4 w 1026"/>
                <a:gd name="T5" fmla="*/ 27 h 906"/>
                <a:gd name="T6" fmla="*/ 6 w 1026"/>
                <a:gd name="T7" fmla="*/ 27 h 906"/>
                <a:gd name="T8" fmla="*/ 9 w 1026"/>
                <a:gd name="T9" fmla="*/ 27 h 906"/>
                <a:gd name="T10" fmla="*/ 10 w 1026"/>
                <a:gd name="T11" fmla="*/ 25 h 906"/>
                <a:gd name="T12" fmla="*/ 10 w 1026"/>
                <a:gd name="T13" fmla="*/ 23 h 906"/>
                <a:gd name="T14" fmla="*/ 13 w 1026"/>
                <a:gd name="T15" fmla="*/ 23 h 906"/>
                <a:gd name="T16" fmla="*/ 13 w 1026"/>
                <a:gd name="T17" fmla="*/ 22 h 906"/>
                <a:gd name="T18" fmla="*/ 15 w 1026"/>
                <a:gd name="T19" fmla="*/ 19 h 906"/>
                <a:gd name="T20" fmla="*/ 15 w 1026"/>
                <a:gd name="T21" fmla="*/ 18 h 906"/>
                <a:gd name="T22" fmla="*/ 18 w 1026"/>
                <a:gd name="T23" fmla="*/ 18 h 906"/>
                <a:gd name="T24" fmla="*/ 20 w 1026"/>
                <a:gd name="T25" fmla="*/ 18 h 906"/>
                <a:gd name="T26" fmla="*/ 21 w 1026"/>
                <a:gd name="T27" fmla="*/ 17 h 906"/>
                <a:gd name="T28" fmla="*/ 19 w 1026"/>
                <a:gd name="T29" fmla="*/ 15 h 906"/>
                <a:gd name="T30" fmla="*/ 19 w 1026"/>
                <a:gd name="T31" fmla="*/ 12 h 906"/>
                <a:gd name="T32" fmla="*/ 18 w 1026"/>
                <a:gd name="T33" fmla="*/ 9 h 906"/>
                <a:gd name="T34" fmla="*/ 18 w 1026"/>
                <a:gd name="T35" fmla="*/ 8 h 906"/>
                <a:gd name="T36" fmla="*/ 19 w 1026"/>
                <a:gd name="T37" fmla="*/ 7 h 906"/>
                <a:gd name="T38" fmla="*/ 21 w 1026"/>
                <a:gd name="T39" fmla="*/ 5 h 906"/>
                <a:gd name="T40" fmla="*/ 22 w 1026"/>
                <a:gd name="T41" fmla="*/ 5 h 906"/>
                <a:gd name="T42" fmla="*/ 23 w 1026"/>
                <a:gd name="T43" fmla="*/ 5 h 906"/>
                <a:gd name="T44" fmla="*/ 25 w 1026"/>
                <a:gd name="T45" fmla="*/ 3 h 906"/>
                <a:gd name="T46" fmla="*/ 27 w 1026"/>
                <a:gd name="T47" fmla="*/ 2 h 906"/>
                <a:gd name="T48" fmla="*/ 29 w 1026"/>
                <a:gd name="T49" fmla="*/ 2 h 906"/>
                <a:gd name="T50" fmla="*/ 31 w 1026"/>
                <a:gd name="T51" fmla="*/ 2 h 906"/>
                <a:gd name="T52" fmla="*/ 33 w 1026"/>
                <a:gd name="T53" fmla="*/ 1 h 906"/>
                <a:gd name="T54" fmla="*/ 34 w 1026"/>
                <a:gd name="T55" fmla="*/ 1 h 906"/>
                <a:gd name="T56" fmla="*/ 37 w 1026"/>
                <a:gd name="T57" fmla="*/ 1 h 906"/>
                <a:gd name="T58" fmla="*/ 39 w 1026"/>
                <a:gd name="T59" fmla="*/ 1 h 906"/>
                <a:gd name="T60" fmla="*/ 41 w 1026"/>
                <a:gd name="T61" fmla="*/ 1 h 906"/>
                <a:gd name="T62" fmla="*/ 42 w 1026"/>
                <a:gd name="T63" fmla="*/ 1 h 906"/>
                <a:gd name="T64" fmla="*/ 43 w 1026"/>
                <a:gd name="T65" fmla="*/ 1 h 906"/>
                <a:gd name="T66" fmla="*/ 44 w 1026"/>
                <a:gd name="T67" fmla="*/ 1 h 906"/>
                <a:gd name="T68" fmla="*/ 45 w 1026"/>
                <a:gd name="T69" fmla="*/ 1 h 906"/>
                <a:gd name="T70" fmla="*/ 47 w 1026"/>
                <a:gd name="T71" fmla="*/ 1 h 906"/>
                <a:gd name="T72" fmla="*/ 46 w 1026"/>
                <a:gd name="T73" fmla="*/ 2 h 906"/>
                <a:gd name="T74" fmla="*/ 46 w 1026"/>
                <a:gd name="T75" fmla="*/ 3 h 906"/>
                <a:gd name="T76" fmla="*/ 46 w 1026"/>
                <a:gd name="T77" fmla="*/ 6 h 906"/>
                <a:gd name="T78" fmla="*/ 46 w 1026"/>
                <a:gd name="T79" fmla="*/ 8 h 906"/>
                <a:gd name="T80" fmla="*/ 46 w 1026"/>
                <a:gd name="T81" fmla="*/ 10 h 906"/>
                <a:gd name="T82" fmla="*/ 44 w 1026"/>
                <a:gd name="T83" fmla="*/ 11 h 906"/>
                <a:gd name="T84" fmla="*/ 45 w 1026"/>
                <a:gd name="T85" fmla="*/ 15 h 906"/>
                <a:gd name="T86" fmla="*/ 48 w 1026"/>
                <a:gd name="T87" fmla="*/ 18 h 906"/>
                <a:gd name="T88" fmla="*/ 49 w 1026"/>
                <a:gd name="T89" fmla="*/ 25 h 906"/>
                <a:gd name="T90" fmla="*/ 50 w 1026"/>
                <a:gd name="T91" fmla="*/ 30 h 906"/>
                <a:gd name="T92" fmla="*/ 50 w 1026"/>
                <a:gd name="T93" fmla="*/ 33 h 906"/>
                <a:gd name="T94" fmla="*/ 50 w 1026"/>
                <a:gd name="T95" fmla="*/ 36 h 906"/>
                <a:gd name="T96" fmla="*/ 50 w 1026"/>
                <a:gd name="T97" fmla="*/ 39 h 906"/>
                <a:gd name="T98" fmla="*/ 50 w 1026"/>
                <a:gd name="T99" fmla="*/ 42 h 906"/>
                <a:gd name="T100" fmla="*/ 52 w 1026"/>
                <a:gd name="T101" fmla="*/ 46 h 906"/>
                <a:gd name="T102" fmla="*/ 55 w 1026"/>
                <a:gd name="T103" fmla="*/ 47 h 906"/>
                <a:gd name="T104" fmla="*/ 43 w 1026"/>
                <a:gd name="T105" fmla="*/ 60 h 906"/>
                <a:gd name="T106" fmla="*/ 33 w 1026"/>
                <a:gd name="T107" fmla="*/ 66 h 906"/>
                <a:gd name="T108" fmla="*/ 32 w 1026"/>
                <a:gd name="T109" fmla="*/ 64 h 906"/>
                <a:gd name="T110" fmla="*/ 31 w 1026"/>
                <a:gd name="T111" fmla="*/ 62 h 906"/>
                <a:gd name="T112" fmla="*/ 30 w 1026"/>
                <a:gd name="T113" fmla="*/ 62 h 906"/>
                <a:gd name="T114" fmla="*/ 28 w 1026"/>
                <a:gd name="T115" fmla="*/ 61 h 906"/>
                <a:gd name="T116" fmla="*/ 27 w 1026"/>
                <a:gd name="T117" fmla="*/ 60 h 906"/>
                <a:gd name="T118" fmla="*/ 23 w 1026"/>
                <a:gd name="T119" fmla="*/ 55 h 906"/>
                <a:gd name="T120" fmla="*/ 9 w 1026"/>
                <a:gd name="T121" fmla="*/ 43 h 90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26" h="906">
                  <a:moveTo>
                    <a:pt x="0" y="492"/>
                  </a:moveTo>
                  <a:lnTo>
                    <a:pt x="0" y="474"/>
                  </a:lnTo>
                  <a:lnTo>
                    <a:pt x="0" y="420"/>
                  </a:lnTo>
                  <a:lnTo>
                    <a:pt x="6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24" y="402"/>
                  </a:lnTo>
                  <a:lnTo>
                    <a:pt x="30" y="402"/>
                  </a:lnTo>
                  <a:lnTo>
                    <a:pt x="36" y="396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8" y="390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72" y="378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8" y="378"/>
                  </a:lnTo>
                  <a:lnTo>
                    <a:pt x="108" y="372"/>
                  </a:lnTo>
                  <a:lnTo>
                    <a:pt x="114" y="372"/>
                  </a:lnTo>
                  <a:lnTo>
                    <a:pt x="120" y="372"/>
                  </a:lnTo>
                  <a:lnTo>
                    <a:pt x="126" y="372"/>
                  </a:lnTo>
                  <a:lnTo>
                    <a:pt x="132" y="366"/>
                  </a:lnTo>
                  <a:lnTo>
                    <a:pt x="138" y="366"/>
                  </a:lnTo>
                  <a:lnTo>
                    <a:pt x="144" y="366"/>
                  </a:lnTo>
                  <a:lnTo>
                    <a:pt x="150" y="366"/>
                  </a:lnTo>
                  <a:lnTo>
                    <a:pt x="156" y="360"/>
                  </a:lnTo>
                  <a:lnTo>
                    <a:pt x="162" y="360"/>
                  </a:lnTo>
                  <a:lnTo>
                    <a:pt x="168" y="360"/>
                  </a:lnTo>
                  <a:lnTo>
                    <a:pt x="168" y="354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80" y="348"/>
                  </a:lnTo>
                  <a:lnTo>
                    <a:pt x="180" y="342"/>
                  </a:lnTo>
                  <a:lnTo>
                    <a:pt x="186" y="342"/>
                  </a:lnTo>
                  <a:lnTo>
                    <a:pt x="186" y="336"/>
                  </a:lnTo>
                  <a:lnTo>
                    <a:pt x="186" y="330"/>
                  </a:lnTo>
                  <a:lnTo>
                    <a:pt x="186" y="324"/>
                  </a:lnTo>
                  <a:lnTo>
                    <a:pt x="192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204" y="318"/>
                  </a:lnTo>
                  <a:lnTo>
                    <a:pt x="210" y="318"/>
                  </a:lnTo>
                  <a:lnTo>
                    <a:pt x="216" y="318"/>
                  </a:lnTo>
                  <a:lnTo>
                    <a:pt x="222" y="318"/>
                  </a:lnTo>
                  <a:lnTo>
                    <a:pt x="228" y="312"/>
                  </a:lnTo>
                  <a:lnTo>
                    <a:pt x="234" y="312"/>
                  </a:lnTo>
                  <a:lnTo>
                    <a:pt x="240" y="312"/>
                  </a:lnTo>
                  <a:lnTo>
                    <a:pt x="246" y="312"/>
                  </a:lnTo>
                  <a:lnTo>
                    <a:pt x="252" y="312"/>
                  </a:lnTo>
                  <a:lnTo>
                    <a:pt x="252" y="306"/>
                  </a:lnTo>
                  <a:lnTo>
                    <a:pt x="252" y="300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8"/>
                  </a:lnTo>
                  <a:lnTo>
                    <a:pt x="246" y="282"/>
                  </a:lnTo>
                  <a:lnTo>
                    <a:pt x="246" y="276"/>
                  </a:lnTo>
                  <a:lnTo>
                    <a:pt x="252" y="276"/>
                  </a:lnTo>
                  <a:lnTo>
                    <a:pt x="264" y="270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82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300" y="252"/>
                  </a:lnTo>
                  <a:lnTo>
                    <a:pt x="306" y="246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52"/>
                  </a:lnTo>
                  <a:lnTo>
                    <a:pt x="372" y="246"/>
                  </a:lnTo>
                  <a:lnTo>
                    <a:pt x="366" y="246"/>
                  </a:lnTo>
                  <a:lnTo>
                    <a:pt x="366" y="240"/>
                  </a:lnTo>
                  <a:lnTo>
                    <a:pt x="372" y="234"/>
                  </a:lnTo>
                  <a:lnTo>
                    <a:pt x="378" y="234"/>
                  </a:lnTo>
                  <a:lnTo>
                    <a:pt x="378" y="228"/>
                  </a:lnTo>
                  <a:lnTo>
                    <a:pt x="366" y="222"/>
                  </a:lnTo>
                  <a:lnTo>
                    <a:pt x="360" y="216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198"/>
                  </a:lnTo>
                  <a:lnTo>
                    <a:pt x="348" y="198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48" y="174"/>
                  </a:lnTo>
                  <a:lnTo>
                    <a:pt x="342" y="174"/>
                  </a:lnTo>
                  <a:lnTo>
                    <a:pt x="342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48" y="150"/>
                  </a:lnTo>
                  <a:lnTo>
                    <a:pt x="342" y="138"/>
                  </a:lnTo>
                  <a:lnTo>
                    <a:pt x="348" y="132"/>
                  </a:lnTo>
                  <a:lnTo>
                    <a:pt x="342" y="132"/>
                  </a:lnTo>
                  <a:lnTo>
                    <a:pt x="342" y="126"/>
                  </a:lnTo>
                  <a:lnTo>
                    <a:pt x="336" y="126"/>
                  </a:lnTo>
                  <a:lnTo>
                    <a:pt x="342" y="120"/>
                  </a:lnTo>
                  <a:lnTo>
                    <a:pt x="336" y="114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24" y="108"/>
                  </a:lnTo>
                  <a:lnTo>
                    <a:pt x="324" y="102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42" y="102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54" y="90"/>
                  </a:lnTo>
                  <a:lnTo>
                    <a:pt x="360" y="90"/>
                  </a:lnTo>
                  <a:lnTo>
                    <a:pt x="366" y="90"/>
                  </a:lnTo>
                  <a:lnTo>
                    <a:pt x="366" y="84"/>
                  </a:lnTo>
                  <a:lnTo>
                    <a:pt x="372" y="78"/>
                  </a:lnTo>
                  <a:lnTo>
                    <a:pt x="378" y="78"/>
                  </a:lnTo>
                  <a:lnTo>
                    <a:pt x="378" y="72"/>
                  </a:lnTo>
                  <a:lnTo>
                    <a:pt x="384" y="72"/>
                  </a:lnTo>
                  <a:lnTo>
                    <a:pt x="390" y="72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96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14" y="60"/>
                  </a:lnTo>
                  <a:lnTo>
                    <a:pt x="414" y="66"/>
                  </a:lnTo>
                  <a:lnTo>
                    <a:pt x="420" y="66"/>
                  </a:lnTo>
                  <a:lnTo>
                    <a:pt x="426" y="66"/>
                  </a:lnTo>
                  <a:lnTo>
                    <a:pt x="432" y="66"/>
                  </a:lnTo>
                  <a:lnTo>
                    <a:pt x="432" y="60"/>
                  </a:lnTo>
                  <a:lnTo>
                    <a:pt x="438" y="60"/>
                  </a:lnTo>
                  <a:lnTo>
                    <a:pt x="438" y="54"/>
                  </a:lnTo>
                  <a:lnTo>
                    <a:pt x="444" y="48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2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504" y="30"/>
                  </a:lnTo>
                  <a:lnTo>
                    <a:pt x="510" y="30"/>
                  </a:lnTo>
                  <a:lnTo>
                    <a:pt x="516" y="30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24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58" y="24"/>
                  </a:lnTo>
                  <a:lnTo>
                    <a:pt x="564" y="24"/>
                  </a:lnTo>
                  <a:lnTo>
                    <a:pt x="570" y="24"/>
                  </a:lnTo>
                  <a:lnTo>
                    <a:pt x="570" y="18"/>
                  </a:lnTo>
                  <a:lnTo>
                    <a:pt x="576" y="18"/>
                  </a:lnTo>
                  <a:lnTo>
                    <a:pt x="582" y="18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6" y="12"/>
                  </a:lnTo>
                  <a:lnTo>
                    <a:pt x="672" y="12"/>
                  </a:lnTo>
                  <a:lnTo>
                    <a:pt x="678" y="18"/>
                  </a:lnTo>
                  <a:lnTo>
                    <a:pt x="684" y="18"/>
                  </a:lnTo>
                  <a:lnTo>
                    <a:pt x="684" y="24"/>
                  </a:lnTo>
                  <a:lnTo>
                    <a:pt x="690" y="24"/>
                  </a:lnTo>
                  <a:lnTo>
                    <a:pt x="696" y="24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8" y="12"/>
                  </a:lnTo>
                  <a:lnTo>
                    <a:pt x="738" y="6"/>
                  </a:lnTo>
                  <a:lnTo>
                    <a:pt x="744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6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8" y="6"/>
                  </a:lnTo>
                  <a:lnTo>
                    <a:pt x="768" y="12"/>
                  </a:lnTo>
                  <a:lnTo>
                    <a:pt x="774" y="12"/>
                  </a:lnTo>
                  <a:lnTo>
                    <a:pt x="780" y="12"/>
                  </a:lnTo>
                  <a:lnTo>
                    <a:pt x="786" y="12"/>
                  </a:lnTo>
                  <a:lnTo>
                    <a:pt x="792" y="6"/>
                  </a:lnTo>
                  <a:lnTo>
                    <a:pt x="786" y="6"/>
                  </a:lnTo>
                  <a:lnTo>
                    <a:pt x="786" y="0"/>
                  </a:lnTo>
                  <a:lnTo>
                    <a:pt x="792" y="6"/>
                  </a:lnTo>
                  <a:lnTo>
                    <a:pt x="798" y="6"/>
                  </a:lnTo>
                  <a:lnTo>
                    <a:pt x="798" y="0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0" y="6"/>
                  </a:lnTo>
                  <a:lnTo>
                    <a:pt x="810" y="12"/>
                  </a:lnTo>
                  <a:lnTo>
                    <a:pt x="816" y="12"/>
                  </a:lnTo>
                  <a:lnTo>
                    <a:pt x="816" y="6"/>
                  </a:lnTo>
                  <a:lnTo>
                    <a:pt x="816" y="12"/>
                  </a:lnTo>
                  <a:lnTo>
                    <a:pt x="822" y="12"/>
                  </a:lnTo>
                  <a:lnTo>
                    <a:pt x="828" y="12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8" y="12"/>
                  </a:lnTo>
                  <a:lnTo>
                    <a:pt x="858" y="18"/>
                  </a:lnTo>
                  <a:lnTo>
                    <a:pt x="852" y="18"/>
                  </a:lnTo>
                  <a:lnTo>
                    <a:pt x="846" y="18"/>
                  </a:lnTo>
                  <a:lnTo>
                    <a:pt x="852" y="18"/>
                  </a:lnTo>
                  <a:lnTo>
                    <a:pt x="852" y="24"/>
                  </a:lnTo>
                  <a:lnTo>
                    <a:pt x="846" y="24"/>
                  </a:lnTo>
                  <a:lnTo>
                    <a:pt x="846" y="30"/>
                  </a:lnTo>
                  <a:lnTo>
                    <a:pt x="840" y="30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840" y="36"/>
                  </a:lnTo>
                  <a:lnTo>
                    <a:pt x="846" y="36"/>
                  </a:lnTo>
                  <a:lnTo>
                    <a:pt x="846" y="42"/>
                  </a:lnTo>
                  <a:lnTo>
                    <a:pt x="846" y="48"/>
                  </a:lnTo>
                  <a:lnTo>
                    <a:pt x="840" y="48"/>
                  </a:lnTo>
                  <a:lnTo>
                    <a:pt x="846" y="48"/>
                  </a:lnTo>
                  <a:lnTo>
                    <a:pt x="846" y="54"/>
                  </a:lnTo>
                  <a:lnTo>
                    <a:pt x="840" y="54"/>
                  </a:lnTo>
                  <a:lnTo>
                    <a:pt x="840" y="60"/>
                  </a:lnTo>
                  <a:lnTo>
                    <a:pt x="840" y="66"/>
                  </a:lnTo>
                  <a:lnTo>
                    <a:pt x="840" y="72"/>
                  </a:lnTo>
                  <a:lnTo>
                    <a:pt x="846" y="72"/>
                  </a:lnTo>
                  <a:lnTo>
                    <a:pt x="846" y="78"/>
                  </a:lnTo>
                  <a:lnTo>
                    <a:pt x="846" y="84"/>
                  </a:lnTo>
                  <a:lnTo>
                    <a:pt x="840" y="90"/>
                  </a:lnTo>
                  <a:lnTo>
                    <a:pt x="846" y="90"/>
                  </a:lnTo>
                  <a:lnTo>
                    <a:pt x="846" y="96"/>
                  </a:lnTo>
                  <a:lnTo>
                    <a:pt x="852" y="96"/>
                  </a:lnTo>
                  <a:lnTo>
                    <a:pt x="846" y="96"/>
                  </a:lnTo>
                  <a:lnTo>
                    <a:pt x="846" y="102"/>
                  </a:lnTo>
                  <a:lnTo>
                    <a:pt x="846" y="108"/>
                  </a:lnTo>
                  <a:lnTo>
                    <a:pt x="840" y="108"/>
                  </a:lnTo>
                  <a:lnTo>
                    <a:pt x="840" y="114"/>
                  </a:lnTo>
                  <a:lnTo>
                    <a:pt x="840" y="120"/>
                  </a:lnTo>
                  <a:lnTo>
                    <a:pt x="840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2"/>
                  </a:lnTo>
                  <a:lnTo>
                    <a:pt x="822" y="138"/>
                  </a:lnTo>
                  <a:lnTo>
                    <a:pt x="816" y="144"/>
                  </a:lnTo>
                  <a:lnTo>
                    <a:pt x="810" y="144"/>
                  </a:lnTo>
                  <a:lnTo>
                    <a:pt x="810" y="150"/>
                  </a:lnTo>
                  <a:lnTo>
                    <a:pt x="804" y="150"/>
                  </a:lnTo>
                  <a:lnTo>
                    <a:pt x="804" y="156"/>
                  </a:lnTo>
                  <a:lnTo>
                    <a:pt x="804" y="162"/>
                  </a:lnTo>
                  <a:lnTo>
                    <a:pt x="804" y="168"/>
                  </a:lnTo>
                  <a:lnTo>
                    <a:pt x="810" y="174"/>
                  </a:lnTo>
                  <a:lnTo>
                    <a:pt x="810" y="180"/>
                  </a:lnTo>
                  <a:lnTo>
                    <a:pt x="816" y="186"/>
                  </a:lnTo>
                  <a:lnTo>
                    <a:pt x="816" y="192"/>
                  </a:lnTo>
                  <a:lnTo>
                    <a:pt x="816" y="198"/>
                  </a:lnTo>
                  <a:lnTo>
                    <a:pt x="822" y="198"/>
                  </a:lnTo>
                  <a:lnTo>
                    <a:pt x="828" y="204"/>
                  </a:lnTo>
                  <a:lnTo>
                    <a:pt x="834" y="204"/>
                  </a:lnTo>
                  <a:lnTo>
                    <a:pt x="846" y="216"/>
                  </a:lnTo>
                  <a:lnTo>
                    <a:pt x="846" y="222"/>
                  </a:lnTo>
                  <a:lnTo>
                    <a:pt x="846" y="228"/>
                  </a:lnTo>
                  <a:lnTo>
                    <a:pt x="882" y="252"/>
                  </a:lnTo>
                  <a:lnTo>
                    <a:pt x="882" y="258"/>
                  </a:lnTo>
                  <a:lnTo>
                    <a:pt x="882" y="264"/>
                  </a:lnTo>
                  <a:lnTo>
                    <a:pt x="894" y="300"/>
                  </a:lnTo>
                  <a:lnTo>
                    <a:pt x="900" y="318"/>
                  </a:lnTo>
                  <a:lnTo>
                    <a:pt x="900" y="330"/>
                  </a:lnTo>
                  <a:lnTo>
                    <a:pt x="906" y="342"/>
                  </a:lnTo>
                  <a:lnTo>
                    <a:pt x="900" y="342"/>
                  </a:lnTo>
                  <a:lnTo>
                    <a:pt x="900" y="348"/>
                  </a:lnTo>
                  <a:lnTo>
                    <a:pt x="894" y="348"/>
                  </a:lnTo>
                  <a:lnTo>
                    <a:pt x="900" y="354"/>
                  </a:lnTo>
                  <a:lnTo>
                    <a:pt x="906" y="360"/>
                  </a:lnTo>
                  <a:lnTo>
                    <a:pt x="918" y="384"/>
                  </a:lnTo>
                  <a:lnTo>
                    <a:pt x="918" y="402"/>
                  </a:lnTo>
                  <a:lnTo>
                    <a:pt x="918" y="408"/>
                  </a:lnTo>
                  <a:lnTo>
                    <a:pt x="918" y="414"/>
                  </a:lnTo>
                  <a:lnTo>
                    <a:pt x="924" y="414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8" y="432"/>
                  </a:lnTo>
                  <a:lnTo>
                    <a:pt x="918" y="438"/>
                  </a:lnTo>
                  <a:lnTo>
                    <a:pt x="918" y="450"/>
                  </a:lnTo>
                  <a:lnTo>
                    <a:pt x="924" y="462"/>
                  </a:lnTo>
                  <a:lnTo>
                    <a:pt x="924" y="468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18" y="498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24" y="510"/>
                  </a:lnTo>
                  <a:lnTo>
                    <a:pt x="924" y="516"/>
                  </a:lnTo>
                  <a:lnTo>
                    <a:pt x="924" y="522"/>
                  </a:lnTo>
                  <a:lnTo>
                    <a:pt x="918" y="528"/>
                  </a:lnTo>
                  <a:lnTo>
                    <a:pt x="912" y="534"/>
                  </a:lnTo>
                  <a:lnTo>
                    <a:pt x="906" y="534"/>
                  </a:lnTo>
                  <a:lnTo>
                    <a:pt x="900" y="534"/>
                  </a:lnTo>
                  <a:lnTo>
                    <a:pt x="900" y="540"/>
                  </a:lnTo>
                  <a:lnTo>
                    <a:pt x="900" y="546"/>
                  </a:lnTo>
                  <a:lnTo>
                    <a:pt x="894" y="546"/>
                  </a:lnTo>
                  <a:lnTo>
                    <a:pt x="918" y="570"/>
                  </a:lnTo>
                  <a:lnTo>
                    <a:pt x="930" y="588"/>
                  </a:lnTo>
                  <a:lnTo>
                    <a:pt x="930" y="612"/>
                  </a:lnTo>
                  <a:lnTo>
                    <a:pt x="936" y="612"/>
                  </a:lnTo>
                  <a:lnTo>
                    <a:pt x="936" y="618"/>
                  </a:lnTo>
                  <a:lnTo>
                    <a:pt x="936" y="624"/>
                  </a:lnTo>
                  <a:lnTo>
                    <a:pt x="948" y="630"/>
                  </a:lnTo>
                  <a:lnTo>
                    <a:pt x="954" y="624"/>
                  </a:lnTo>
                  <a:lnTo>
                    <a:pt x="960" y="624"/>
                  </a:lnTo>
                  <a:lnTo>
                    <a:pt x="972" y="630"/>
                  </a:lnTo>
                  <a:lnTo>
                    <a:pt x="978" y="630"/>
                  </a:lnTo>
                  <a:lnTo>
                    <a:pt x="984" y="636"/>
                  </a:lnTo>
                  <a:lnTo>
                    <a:pt x="996" y="642"/>
                  </a:lnTo>
                  <a:lnTo>
                    <a:pt x="1002" y="642"/>
                  </a:lnTo>
                  <a:lnTo>
                    <a:pt x="1008" y="642"/>
                  </a:lnTo>
                  <a:lnTo>
                    <a:pt x="1014" y="654"/>
                  </a:lnTo>
                  <a:lnTo>
                    <a:pt x="1026" y="678"/>
                  </a:lnTo>
                  <a:lnTo>
                    <a:pt x="984" y="702"/>
                  </a:lnTo>
                  <a:lnTo>
                    <a:pt x="906" y="744"/>
                  </a:lnTo>
                  <a:lnTo>
                    <a:pt x="858" y="774"/>
                  </a:lnTo>
                  <a:lnTo>
                    <a:pt x="798" y="810"/>
                  </a:lnTo>
                  <a:lnTo>
                    <a:pt x="786" y="822"/>
                  </a:lnTo>
                  <a:lnTo>
                    <a:pt x="768" y="834"/>
                  </a:lnTo>
                  <a:lnTo>
                    <a:pt x="750" y="852"/>
                  </a:lnTo>
                  <a:lnTo>
                    <a:pt x="720" y="882"/>
                  </a:lnTo>
                  <a:lnTo>
                    <a:pt x="672" y="888"/>
                  </a:lnTo>
                  <a:lnTo>
                    <a:pt x="642" y="894"/>
                  </a:lnTo>
                  <a:lnTo>
                    <a:pt x="594" y="906"/>
                  </a:lnTo>
                  <a:lnTo>
                    <a:pt x="594" y="900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88" y="882"/>
                  </a:lnTo>
                  <a:lnTo>
                    <a:pt x="594" y="882"/>
                  </a:lnTo>
                  <a:lnTo>
                    <a:pt x="588" y="876"/>
                  </a:lnTo>
                  <a:lnTo>
                    <a:pt x="594" y="876"/>
                  </a:lnTo>
                  <a:lnTo>
                    <a:pt x="588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88" y="858"/>
                  </a:lnTo>
                  <a:lnTo>
                    <a:pt x="582" y="858"/>
                  </a:lnTo>
                  <a:lnTo>
                    <a:pt x="576" y="852"/>
                  </a:lnTo>
                  <a:lnTo>
                    <a:pt x="570" y="852"/>
                  </a:lnTo>
                  <a:lnTo>
                    <a:pt x="564" y="852"/>
                  </a:lnTo>
                  <a:lnTo>
                    <a:pt x="558" y="852"/>
                  </a:lnTo>
                  <a:lnTo>
                    <a:pt x="552" y="852"/>
                  </a:lnTo>
                  <a:lnTo>
                    <a:pt x="552" y="846"/>
                  </a:lnTo>
                  <a:lnTo>
                    <a:pt x="552" y="852"/>
                  </a:lnTo>
                  <a:lnTo>
                    <a:pt x="546" y="846"/>
                  </a:lnTo>
                  <a:lnTo>
                    <a:pt x="546" y="840"/>
                  </a:lnTo>
                  <a:lnTo>
                    <a:pt x="540" y="840"/>
                  </a:lnTo>
                  <a:lnTo>
                    <a:pt x="534" y="840"/>
                  </a:lnTo>
                  <a:lnTo>
                    <a:pt x="528" y="840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16" y="834"/>
                  </a:lnTo>
                  <a:lnTo>
                    <a:pt x="510" y="834"/>
                  </a:lnTo>
                  <a:lnTo>
                    <a:pt x="510" y="828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6" y="804"/>
                  </a:lnTo>
                  <a:lnTo>
                    <a:pt x="486" y="798"/>
                  </a:lnTo>
                  <a:lnTo>
                    <a:pt x="432" y="762"/>
                  </a:lnTo>
                  <a:lnTo>
                    <a:pt x="432" y="756"/>
                  </a:lnTo>
                  <a:lnTo>
                    <a:pt x="420" y="750"/>
                  </a:lnTo>
                  <a:lnTo>
                    <a:pt x="348" y="702"/>
                  </a:lnTo>
                  <a:lnTo>
                    <a:pt x="282" y="660"/>
                  </a:lnTo>
                  <a:lnTo>
                    <a:pt x="264" y="654"/>
                  </a:lnTo>
                  <a:lnTo>
                    <a:pt x="258" y="642"/>
                  </a:lnTo>
                  <a:lnTo>
                    <a:pt x="234" y="630"/>
                  </a:lnTo>
                  <a:lnTo>
                    <a:pt x="192" y="606"/>
                  </a:lnTo>
                  <a:lnTo>
                    <a:pt x="162" y="588"/>
                  </a:lnTo>
                  <a:lnTo>
                    <a:pt x="138" y="570"/>
                  </a:lnTo>
                  <a:lnTo>
                    <a:pt x="84" y="534"/>
                  </a:lnTo>
                  <a:lnTo>
                    <a:pt x="54" y="522"/>
                  </a:lnTo>
                  <a:lnTo>
                    <a:pt x="0" y="49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0" name="Freeform 90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auto">
            <a:xfrm>
              <a:off x="3997" y="586"/>
              <a:ext cx="125" cy="228"/>
            </a:xfrm>
            <a:custGeom>
              <a:avLst/>
              <a:gdLst>
                <a:gd name="T0" fmla="*/ 4 w 204"/>
                <a:gd name="T1" fmla="*/ 1 h 354"/>
                <a:gd name="T2" fmla="*/ 4 w 204"/>
                <a:gd name="T3" fmla="*/ 1 h 354"/>
                <a:gd name="T4" fmla="*/ 6 w 204"/>
                <a:gd name="T5" fmla="*/ 0 h 354"/>
                <a:gd name="T6" fmla="*/ 6 w 204"/>
                <a:gd name="T7" fmla="*/ 1 h 354"/>
                <a:gd name="T8" fmla="*/ 6 w 204"/>
                <a:gd name="T9" fmla="*/ 1 h 354"/>
                <a:gd name="T10" fmla="*/ 7 w 204"/>
                <a:gd name="T11" fmla="*/ 1 h 354"/>
                <a:gd name="T12" fmla="*/ 7 w 204"/>
                <a:gd name="T13" fmla="*/ 2 h 354"/>
                <a:gd name="T14" fmla="*/ 8 w 204"/>
                <a:gd name="T15" fmla="*/ 2 h 354"/>
                <a:gd name="T16" fmla="*/ 9 w 204"/>
                <a:gd name="T17" fmla="*/ 1 h 354"/>
                <a:gd name="T18" fmla="*/ 9 w 204"/>
                <a:gd name="T19" fmla="*/ 2 h 354"/>
                <a:gd name="T20" fmla="*/ 9 w 204"/>
                <a:gd name="T21" fmla="*/ 3 h 354"/>
                <a:gd name="T22" fmla="*/ 8 w 204"/>
                <a:gd name="T23" fmla="*/ 3 h 354"/>
                <a:gd name="T24" fmla="*/ 7 w 204"/>
                <a:gd name="T25" fmla="*/ 5 h 354"/>
                <a:gd name="T26" fmla="*/ 9 w 204"/>
                <a:gd name="T27" fmla="*/ 6 h 354"/>
                <a:gd name="T28" fmla="*/ 9 w 204"/>
                <a:gd name="T29" fmla="*/ 6 h 354"/>
                <a:gd name="T30" fmla="*/ 9 w 204"/>
                <a:gd name="T31" fmla="*/ 8 h 354"/>
                <a:gd name="T32" fmla="*/ 9 w 204"/>
                <a:gd name="T33" fmla="*/ 9 h 354"/>
                <a:gd name="T34" fmla="*/ 8 w 204"/>
                <a:gd name="T35" fmla="*/ 10 h 354"/>
                <a:gd name="T36" fmla="*/ 7 w 204"/>
                <a:gd name="T37" fmla="*/ 10 h 354"/>
                <a:gd name="T38" fmla="*/ 7 w 204"/>
                <a:gd name="T39" fmla="*/ 11 h 354"/>
                <a:gd name="T40" fmla="*/ 7 w 204"/>
                <a:gd name="T41" fmla="*/ 12 h 354"/>
                <a:gd name="T42" fmla="*/ 7 w 204"/>
                <a:gd name="T43" fmla="*/ 13 h 354"/>
                <a:gd name="T44" fmla="*/ 8 w 204"/>
                <a:gd name="T45" fmla="*/ 13 h 354"/>
                <a:gd name="T46" fmla="*/ 9 w 204"/>
                <a:gd name="T47" fmla="*/ 14 h 354"/>
                <a:gd name="T48" fmla="*/ 9 w 204"/>
                <a:gd name="T49" fmla="*/ 14 h 354"/>
                <a:gd name="T50" fmla="*/ 9 w 204"/>
                <a:gd name="T51" fmla="*/ 14 h 354"/>
                <a:gd name="T52" fmla="*/ 9 w 204"/>
                <a:gd name="T53" fmla="*/ 15 h 354"/>
                <a:gd name="T54" fmla="*/ 10 w 204"/>
                <a:gd name="T55" fmla="*/ 15 h 354"/>
                <a:gd name="T56" fmla="*/ 10 w 204"/>
                <a:gd name="T57" fmla="*/ 15 h 354"/>
                <a:gd name="T58" fmla="*/ 10 w 204"/>
                <a:gd name="T59" fmla="*/ 17 h 354"/>
                <a:gd name="T60" fmla="*/ 10 w 204"/>
                <a:gd name="T61" fmla="*/ 18 h 354"/>
                <a:gd name="T62" fmla="*/ 9 w 204"/>
                <a:gd name="T63" fmla="*/ 19 h 354"/>
                <a:gd name="T64" fmla="*/ 8 w 204"/>
                <a:gd name="T65" fmla="*/ 20 h 354"/>
                <a:gd name="T66" fmla="*/ 7 w 204"/>
                <a:gd name="T67" fmla="*/ 20 h 354"/>
                <a:gd name="T68" fmla="*/ 7 w 204"/>
                <a:gd name="T69" fmla="*/ 22 h 354"/>
                <a:gd name="T70" fmla="*/ 7 w 204"/>
                <a:gd name="T71" fmla="*/ 24 h 354"/>
                <a:gd name="T72" fmla="*/ 6 w 204"/>
                <a:gd name="T73" fmla="*/ 24 h 354"/>
                <a:gd name="T74" fmla="*/ 6 w 204"/>
                <a:gd name="T75" fmla="*/ 25 h 354"/>
                <a:gd name="T76" fmla="*/ 4 w 204"/>
                <a:gd name="T77" fmla="*/ 20 h 354"/>
                <a:gd name="T78" fmla="*/ 2 w 204"/>
                <a:gd name="T79" fmla="*/ 17 h 354"/>
                <a:gd name="T80" fmla="*/ 1 w 204"/>
                <a:gd name="T81" fmla="*/ 15 h 354"/>
                <a:gd name="T82" fmla="*/ 1 w 204"/>
                <a:gd name="T83" fmla="*/ 14 h 354"/>
                <a:gd name="T84" fmla="*/ 0 w 204"/>
                <a:gd name="T85" fmla="*/ 12 h 354"/>
                <a:gd name="T86" fmla="*/ 1 w 204"/>
                <a:gd name="T87" fmla="*/ 11 h 354"/>
                <a:gd name="T88" fmla="*/ 1 w 204"/>
                <a:gd name="T89" fmla="*/ 10 h 354"/>
                <a:gd name="T90" fmla="*/ 2 w 204"/>
                <a:gd name="T91" fmla="*/ 9 h 354"/>
                <a:gd name="T92" fmla="*/ 2 w 204"/>
                <a:gd name="T93" fmla="*/ 8 h 354"/>
                <a:gd name="T94" fmla="*/ 2 w 204"/>
                <a:gd name="T95" fmla="*/ 7 h 354"/>
                <a:gd name="T96" fmla="*/ 2 w 204"/>
                <a:gd name="T97" fmla="*/ 6 h 354"/>
                <a:gd name="T98" fmla="*/ 2 w 204"/>
                <a:gd name="T99" fmla="*/ 4 h 354"/>
                <a:gd name="T100" fmla="*/ 2 w 204"/>
                <a:gd name="T101" fmla="*/ 3 h 354"/>
                <a:gd name="T102" fmla="*/ 2 w 204"/>
                <a:gd name="T103" fmla="*/ 3 h 354"/>
                <a:gd name="T104" fmla="*/ 2 w 204"/>
                <a:gd name="T105" fmla="*/ 2 h 354"/>
                <a:gd name="T106" fmla="*/ 2 w 204"/>
                <a:gd name="T107" fmla="*/ 2 h 3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354">
                  <a:moveTo>
                    <a:pt x="54" y="24"/>
                  </a:moveTo>
                  <a:lnTo>
                    <a:pt x="60" y="18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18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62" y="42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96"/>
                  </a:lnTo>
                  <a:lnTo>
                    <a:pt x="174" y="102"/>
                  </a:lnTo>
                  <a:lnTo>
                    <a:pt x="180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20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56" y="138"/>
                  </a:lnTo>
                  <a:lnTo>
                    <a:pt x="150" y="138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38" y="150"/>
                  </a:lnTo>
                  <a:lnTo>
                    <a:pt x="132" y="150"/>
                  </a:lnTo>
                  <a:lnTo>
                    <a:pt x="126" y="150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32" y="174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56" y="186"/>
                  </a:lnTo>
                  <a:lnTo>
                    <a:pt x="156" y="180"/>
                  </a:lnTo>
                  <a:lnTo>
                    <a:pt x="162" y="180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8" y="192"/>
                  </a:lnTo>
                  <a:lnTo>
                    <a:pt x="168" y="186"/>
                  </a:lnTo>
                  <a:lnTo>
                    <a:pt x="174" y="186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80" y="210"/>
                  </a:lnTo>
                  <a:lnTo>
                    <a:pt x="186" y="210"/>
                  </a:lnTo>
                  <a:lnTo>
                    <a:pt x="192" y="210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98" y="210"/>
                  </a:lnTo>
                  <a:lnTo>
                    <a:pt x="198" y="216"/>
                  </a:lnTo>
                  <a:lnTo>
                    <a:pt x="198" y="222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2" y="252"/>
                  </a:lnTo>
                  <a:lnTo>
                    <a:pt x="180" y="252"/>
                  </a:lnTo>
                  <a:lnTo>
                    <a:pt x="180" y="258"/>
                  </a:lnTo>
                  <a:lnTo>
                    <a:pt x="174" y="258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56" y="270"/>
                  </a:lnTo>
                  <a:lnTo>
                    <a:pt x="156" y="276"/>
                  </a:lnTo>
                  <a:lnTo>
                    <a:pt x="150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2" y="306"/>
                  </a:lnTo>
                  <a:lnTo>
                    <a:pt x="138" y="312"/>
                  </a:lnTo>
                  <a:lnTo>
                    <a:pt x="138" y="318"/>
                  </a:lnTo>
                  <a:lnTo>
                    <a:pt x="138" y="324"/>
                  </a:lnTo>
                  <a:lnTo>
                    <a:pt x="132" y="330"/>
                  </a:lnTo>
                  <a:lnTo>
                    <a:pt x="132" y="336"/>
                  </a:lnTo>
                  <a:lnTo>
                    <a:pt x="126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14" y="348"/>
                  </a:lnTo>
                  <a:lnTo>
                    <a:pt x="108" y="354"/>
                  </a:lnTo>
                  <a:lnTo>
                    <a:pt x="102" y="354"/>
                  </a:lnTo>
                  <a:lnTo>
                    <a:pt x="96" y="342"/>
                  </a:lnTo>
                  <a:lnTo>
                    <a:pt x="96" y="330"/>
                  </a:lnTo>
                  <a:lnTo>
                    <a:pt x="90" y="312"/>
                  </a:lnTo>
                  <a:lnTo>
                    <a:pt x="78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18" y="210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8" y="36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54" y="2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1" name="Freeform 91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4179" y="1036"/>
              <a:ext cx="325" cy="515"/>
            </a:xfrm>
            <a:custGeom>
              <a:avLst/>
              <a:gdLst>
                <a:gd name="T0" fmla="*/ 10 w 522"/>
                <a:gd name="T1" fmla="*/ 2 h 798"/>
                <a:gd name="T2" fmla="*/ 22 w 522"/>
                <a:gd name="T3" fmla="*/ 9 h 798"/>
                <a:gd name="T4" fmla="*/ 31 w 522"/>
                <a:gd name="T5" fmla="*/ 15 h 798"/>
                <a:gd name="T6" fmla="*/ 29 w 522"/>
                <a:gd name="T7" fmla="*/ 28 h 798"/>
                <a:gd name="T8" fmla="*/ 28 w 522"/>
                <a:gd name="T9" fmla="*/ 28 h 798"/>
                <a:gd name="T10" fmla="*/ 28 w 522"/>
                <a:gd name="T11" fmla="*/ 29 h 798"/>
                <a:gd name="T12" fmla="*/ 27 w 522"/>
                <a:gd name="T13" fmla="*/ 30 h 798"/>
                <a:gd name="T14" fmla="*/ 26 w 522"/>
                <a:gd name="T15" fmla="*/ 32 h 798"/>
                <a:gd name="T16" fmla="*/ 26 w 522"/>
                <a:gd name="T17" fmla="*/ 33 h 798"/>
                <a:gd name="T18" fmla="*/ 25 w 522"/>
                <a:gd name="T19" fmla="*/ 34 h 798"/>
                <a:gd name="T20" fmla="*/ 26 w 522"/>
                <a:gd name="T21" fmla="*/ 37 h 798"/>
                <a:gd name="T22" fmla="*/ 24 w 522"/>
                <a:gd name="T23" fmla="*/ 37 h 798"/>
                <a:gd name="T24" fmla="*/ 25 w 522"/>
                <a:gd name="T25" fmla="*/ 39 h 798"/>
                <a:gd name="T26" fmla="*/ 26 w 522"/>
                <a:gd name="T27" fmla="*/ 39 h 798"/>
                <a:gd name="T28" fmla="*/ 26 w 522"/>
                <a:gd name="T29" fmla="*/ 41 h 798"/>
                <a:gd name="T30" fmla="*/ 28 w 522"/>
                <a:gd name="T31" fmla="*/ 44 h 798"/>
                <a:gd name="T32" fmla="*/ 26 w 522"/>
                <a:gd name="T33" fmla="*/ 45 h 798"/>
                <a:gd name="T34" fmla="*/ 26 w 522"/>
                <a:gd name="T35" fmla="*/ 45 h 798"/>
                <a:gd name="T36" fmla="*/ 24 w 522"/>
                <a:gd name="T37" fmla="*/ 46 h 798"/>
                <a:gd name="T38" fmla="*/ 24 w 522"/>
                <a:gd name="T39" fmla="*/ 46 h 798"/>
                <a:gd name="T40" fmla="*/ 24 w 522"/>
                <a:gd name="T41" fmla="*/ 48 h 798"/>
                <a:gd name="T42" fmla="*/ 22 w 522"/>
                <a:gd name="T43" fmla="*/ 49 h 798"/>
                <a:gd name="T44" fmla="*/ 22 w 522"/>
                <a:gd name="T45" fmla="*/ 50 h 798"/>
                <a:gd name="T46" fmla="*/ 21 w 522"/>
                <a:gd name="T47" fmla="*/ 50 h 798"/>
                <a:gd name="T48" fmla="*/ 19 w 522"/>
                <a:gd name="T49" fmla="*/ 52 h 798"/>
                <a:gd name="T50" fmla="*/ 18 w 522"/>
                <a:gd name="T51" fmla="*/ 52 h 798"/>
                <a:gd name="T52" fmla="*/ 16 w 522"/>
                <a:gd name="T53" fmla="*/ 52 h 798"/>
                <a:gd name="T54" fmla="*/ 16 w 522"/>
                <a:gd name="T55" fmla="*/ 54 h 798"/>
                <a:gd name="T56" fmla="*/ 16 w 522"/>
                <a:gd name="T57" fmla="*/ 55 h 798"/>
                <a:gd name="T58" fmla="*/ 12 w 522"/>
                <a:gd name="T59" fmla="*/ 56 h 798"/>
                <a:gd name="T60" fmla="*/ 12 w 522"/>
                <a:gd name="T61" fmla="*/ 56 h 798"/>
                <a:gd name="T62" fmla="*/ 10 w 522"/>
                <a:gd name="T63" fmla="*/ 57 h 798"/>
                <a:gd name="T64" fmla="*/ 10 w 522"/>
                <a:gd name="T65" fmla="*/ 57 h 798"/>
                <a:gd name="T66" fmla="*/ 9 w 522"/>
                <a:gd name="T67" fmla="*/ 57 h 798"/>
                <a:gd name="T68" fmla="*/ 8 w 522"/>
                <a:gd name="T69" fmla="*/ 57 h 798"/>
                <a:gd name="T70" fmla="*/ 7 w 522"/>
                <a:gd name="T71" fmla="*/ 57 h 798"/>
                <a:gd name="T72" fmla="*/ 6 w 522"/>
                <a:gd name="T73" fmla="*/ 57 h 798"/>
                <a:gd name="T74" fmla="*/ 6 w 522"/>
                <a:gd name="T75" fmla="*/ 54 h 798"/>
                <a:gd name="T76" fmla="*/ 4 w 522"/>
                <a:gd name="T77" fmla="*/ 52 h 798"/>
                <a:gd name="T78" fmla="*/ 2 w 522"/>
                <a:gd name="T79" fmla="*/ 50 h 798"/>
                <a:gd name="T80" fmla="*/ 2 w 522"/>
                <a:gd name="T81" fmla="*/ 49 h 798"/>
                <a:gd name="T82" fmla="*/ 4 w 522"/>
                <a:gd name="T83" fmla="*/ 49 h 798"/>
                <a:gd name="T84" fmla="*/ 6 w 522"/>
                <a:gd name="T85" fmla="*/ 49 h 798"/>
                <a:gd name="T86" fmla="*/ 6 w 522"/>
                <a:gd name="T87" fmla="*/ 48 h 798"/>
                <a:gd name="T88" fmla="*/ 4 w 522"/>
                <a:gd name="T89" fmla="*/ 45 h 798"/>
                <a:gd name="T90" fmla="*/ 4 w 522"/>
                <a:gd name="T91" fmla="*/ 43 h 798"/>
                <a:gd name="T92" fmla="*/ 4 w 522"/>
                <a:gd name="T93" fmla="*/ 42 h 798"/>
                <a:gd name="T94" fmla="*/ 4 w 522"/>
                <a:gd name="T95" fmla="*/ 42 h 798"/>
                <a:gd name="T96" fmla="*/ 4 w 522"/>
                <a:gd name="T97" fmla="*/ 41 h 798"/>
                <a:gd name="T98" fmla="*/ 4 w 522"/>
                <a:gd name="T99" fmla="*/ 39 h 798"/>
                <a:gd name="T100" fmla="*/ 1 w 522"/>
                <a:gd name="T101" fmla="*/ 37 h 798"/>
                <a:gd name="T102" fmla="*/ 0 w 522"/>
                <a:gd name="T103" fmla="*/ 32 h 798"/>
                <a:gd name="T104" fmla="*/ 1 w 522"/>
                <a:gd name="T105" fmla="*/ 31 h 798"/>
                <a:gd name="T106" fmla="*/ 4 w 522"/>
                <a:gd name="T107" fmla="*/ 27 h 798"/>
                <a:gd name="T108" fmla="*/ 6 w 522"/>
                <a:gd name="T109" fmla="*/ 15 h 798"/>
                <a:gd name="T110" fmla="*/ 7 w 522"/>
                <a:gd name="T111" fmla="*/ 11 h 798"/>
                <a:gd name="T112" fmla="*/ 6 w 522"/>
                <a:gd name="T113" fmla="*/ 9 h 798"/>
                <a:gd name="T114" fmla="*/ 4 w 522"/>
                <a:gd name="T115" fmla="*/ 4 h 79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22" h="798">
                  <a:moveTo>
                    <a:pt x="78" y="24"/>
                  </a:moveTo>
                  <a:lnTo>
                    <a:pt x="108" y="12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0"/>
                  </a:lnTo>
                  <a:lnTo>
                    <a:pt x="168" y="24"/>
                  </a:lnTo>
                  <a:lnTo>
                    <a:pt x="228" y="54"/>
                  </a:lnTo>
                  <a:lnTo>
                    <a:pt x="240" y="54"/>
                  </a:lnTo>
                  <a:lnTo>
                    <a:pt x="264" y="66"/>
                  </a:lnTo>
                  <a:lnTo>
                    <a:pt x="342" y="108"/>
                  </a:lnTo>
                  <a:lnTo>
                    <a:pt x="360" y="114"/>
                  </a:lnTo>
                  <a:lnTo>
                    <a:pt x="378" y="126"/>
                  </a:lnTo>
                  <a:lnTo>
                    <a:pt x="396" y="132"/>
                  </a:lnTo>
                  <a:lnTo>
                    <a:pt x="402" y="132"/>
                  </a:lnTo>
                  <a:lnTo>
                    <a:pt x="414" y="144"/>
                  </a:lnTo>
                  <a:lnTo>
                    <a:pt x="450" y="162"/>
                  </a:lnTo>
                  <a:lnTo>
                    <a:pt x="486" y="180"/>
                  </a:lnTo>
                  <a:lnTo>
                    <a:pt x="522" y="198"/>
                  </a:lnTo>
                  <a:lnTo>
                    <a:pt x="522" y="390"/>
                  </a:lnTo>
                  <a:lnTo>
                    <a:pt x="516" y="384"/>
                  </a:lnTo>
                  <a:lnTo>
                    <a:pt x="510" y="384"/>
                  </a:lnTo>
                  <a:lnTo>
                    <a:pt x="504" y="384"/>
                  </a:lnTo>
                  <a:lnTo>
                    <a:pt x="498" y="384"/>
                  </a:lnTo>
                  <a:lnTo>
                    <a:pt x="498" y="390"/>
                  </a:lnTo>
                  <a:lnTo>
                    <a:pt x="492" y="390"/>
                  </a:lnTo>
                  <a:lnTo>
                    <a:pt x="486" y="390"/>
                  </a:lnTo>
                  <a:lnTo>
                    <a:pt x="486" y="384"/>
                  </a:lnTo>
                  <a:lnTo>
                    <a:pt x="486" y="390"/>
                  </a:lnTo>
                  <a:lnTo>
                    <a:pt x="480" y="390"/>
                  </a:lnTo>
                  <a:lnTo>
                    <a:pt x="480" y="384"/>
                  </a:lnTo>
                  <a:lnTo>
                    <a:pt x="480" y="390"/>
                  </a:lnTo>
                  <a:lnTo>
                    <a:pt x="474" y="390"/>
                  </a:lnTo>
                  <a:lnTo>
                    <a:pt x="474" y="396"/>
                  </a:lnTo>
                  <a:lnTo>
                    <a:pt x="468" y="396"/>
                  </a:lnTo>
                  <a:lnTo>
                    <a:pt x="468" y="402"/>
                  </a:lnTo>
                  <a:lnTo>
                    <a:pt x="474" y="402"/>
                  </a:lnTo>
                  <a:lnTo>
                    <a:pt x="474" y="408"/>
                  </a:lnTo>
                  <a:lnTo>
                    <a:pt x="474" y="414"/>
                  </a:lnTo>
                  <a:lnTo>
                    <a:pt x="468" y="414"/>
                  </a:lnTo>
                  <a:lnTo>
                    <a:pt x="474" y="414"/>
                  </a:lnTo>
                  <a:lnTo>
                    <a:pt x="468" y="420"/>
                  </a:lnTo>
                  <a:lnTo>
                    <a:pt x="462" y="420"/>
                  </a:lnTo>
                  <a:lnTo>
                    <a:pt x="462" y="426"/>
                  </a:lnTo>
                  <a:lnTo>
                    <a:pt x="456" y="426"/>
                  </a:lnTo>
                  <a:lnTo>
                    <a:pt x="456" y="432"/>
                  </a:lnTo>
                  <a:lnTo>
                    <a:pt x="462" y="438"/>
                  </a:lnTo>
                  <a:lnTo>
                    <a:pt x="456" y="438"/>
                  </a:lnTo>
                  <a:lnTo>
                    <a:pt x="450" y="438"/>
                  </a:lnTo>
                  <a:lnTo>
                    <a:pt x="450" y="444"/>
                  </a:lnTo>
                  <a:lnTo>
                    <a:pt x="444" y="444"/>
                  </a:lnTo>
                  <a:lnTo>
                    <a:pt x="444" y="450"/>
                  </a:lnTo>
                  <a:lnTo>
                    <a:pt x="444" y="456"/>
                  </a:lnTo>
                  <a:lnTo>
                    <a:pt x="450" y="456"/>
                  </a:lnTo>
                  <a:lnTo>
                    <a:pt x="444" y="456"/>
                  </a:lnTo>
                  <a:lnTo>
                    <a:pt x="450" y="462"/>
                  </a:lnTo>
                  <a:lnTo>
                    <a:pt x="456" y="462"/>
                  </a:lnTo>
                  <a:lnTo>
                    <a:pt x="450" y="468"/>
                  </a:lnTo>
                  <a:lnTo>
                    <a:pt x="444" y="468"/>
                  </a:lnTo>
                  <a:lnTo>
                    <a:pt x="438" y="474"/>
                  </a:lnTo>
                  <a:lnTo>
                    <a:pt x="432" y="474"/>
                  </a:lnTo>
                  <a:lnTo>
                    <a:pt x="432" y="480"/>
                  </a:lnTo>
                  <a:lnTo>
                    <a:pt x="432" y="486"/>
                  </a:lnTo>
                  <a:lnTo>
                    <a:pt x="432" y="492"/>
                  </a:lnTo>
                  <a:lnTo>
                    <a:pt x="438" y="492"/>
                  </a:lnTo>
                  <a:lnTo>
                    <a:pt x="438" y="498"/>
                  </a:lnTo>
                  <a:lnTo>
                    <a:pt x="438" y="504"/>
                  </a:lnTo>
                  <a:lnTo>
                    <a:pt x="438" y="510"/>
                  </a:lnTo>
                  <a:lnTo>
                    <a:pt x="432" y="510"/>
                  </a:lnTo>
                  <a:lnTo>
                    <a:pt x="432" y="516"/>
                  </a:lnTo>
                  <a:lnTo>
                    <a:pt x="426" y="516"/>
                  </a:lnTo>
                  <a:lnTo>
                    <a:pt x="420" y="51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14" y="528"/>
                  </a:lnTo>
                  <a:lnTo>
                    <a:pt x="414" y="534"/>
                  </a:lnTo>
                  <a:lnTo>
                    <a:pt x="420" y="534"/>
                  </a:lnTo>
                  <a:lnTo>
                    <a:pt x="420" y="540"/>
                  </a:lnTo>
                  <a:lnTo>
                    <a:pt x="426" y="540"/>
                  </a:lnTo>
                  <a:lnTo>
                    <a:pt x="432" y="540"/>
                  </a:lnTo>
                  <a:lnTo>
                    <a:pt x="432" y="534"/>
                  </a:lnTo>
                  <a:lnTo>
                    <a:pt x="438" y="534"/>
                  </a:lnTo>
                  <a:lnTo>
                    <a:pt x="444" y="540"/>
                  </a:lnTo>
                  <a:lnTo>
                    <a:pt x="450" y="540"/>
                  </a:lnTo>
                  <a:lnTo>
                    <a:pt x="444" y="546"/>
                  </a:lnTo>
                  <a:lnTo>
                    <a:pt x="444" y="552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50" y="570"/>
                  </a:lnTo>
                  <a:lnTo>
                    <a:pt x="456" y="570"/>
                  </a:lnTo>
                  <a:lnTo>
                    <a:pt x="450" y="588"/>
                  </a:lnTo>
                  <a:lnTo>
                    <a:pt x="456" y="594"/>
                  </a:lnTo>
                  <a:lnTo>
                    <a:pt x="462" y="600"/>
                  </a:lnTo>
                  <a:lnTo>
                    <a:pt x="468" y="600"/>
                  </a:lnTo>
                  <a:lnTo>
                    <a:pt x="474" y="600"/>
                  </a:lnTo>
                  <a:lnTo>
                    <a:pt x="474" y="606"/>
                  </a:lnTo>
                  <a:lnTo>
                    <a:pt x="474" y="612"/>
                  </a:lnTo>
                  <a:lnTo>
                    <a:pt x="474" y="618"/>
                  </a:lnTo>
                  <a:lnTo>
                    <a:pt x="468" y="624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44" y="624"/>
                  </a:lnTo>
                  <a:lnTo>
                    <a:pt x="438" y="624"/>
                  </a:lnTo>
                  <a:lnTo>
                    <a:pt x="432" y="624"/>
                  </a:lnTo>
                  <a:lnTo>
                    <a:pt x="432" y="630"/>
                  </a:lnTo>
                  <a:lnTo>
                    <a:pt x="432" y="624"/>
                  </a:lnTo>
                  <a:lnTo>
                    <a:pt x="426" y="624"/>
                  </a:lnTo>
                  <a:lnTo>
                    <a:pt x="426" y="630"/>
                  </a:lnTo>
                  <a:lnTo>
                    <a:pt x="420" y="630"/>
                  </a:lnTo>
                  <a:lnTo>
                    <a:pt x="414" y="630"/>
                  </a:lnTo>
                  <a:lnTo>
                    <a:pt x="414" y="636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08" y="648"/>
                  </a:lnTo>
                  <a:lnTo>
                    <a:pt x="414" y="648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08" y="660"/>
                  </a:lnTo>
                  <a:lnTo>
                    <a:pt x="402" y="660"/>
                  </a:lnTo>
                  <a:lnTo>
                    <a:pt x="396" y="666"/>
                  </a:lnTo>
                  <a:lnTo>
                    <a:pt x="396" y="672"/>
                  </a:lnTo>
                  <a:lnTo>
                    <a:pt x="390" y="672"/>
                  </a:lnTo>
                  <a:lnTo>
                    <a:pt x="384" y="672"/>
                  </a:lnTo>
                  <a:lnTo>
                    <a:pt x="384" y="678"/>
                  </a:lnTo>
                  <a:lnTo>
                    <a:pt x="378" y="678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2" y="690"/>
                  </a:lnTo>
                  <a:lnTo>
                    <a:pt x="372" y="696"/>
                  </a:lnTo>
                  <a:lnTo>
                    <a:pt x="366" y="696"/>
                  </a:lnTo>
                  <a:lnTo>
                    <a:pt x="366" y="702"/>
                  </a:lnTo>
                  <a:lnTo>
                    <a:pt x="360" y="702"/>
                  </a:lnTo>
                  <a:lnTo>
                    <a:pt x="354" y="702"/>
                  </a:lnTo>
                  <a:lnTo>
                    <a:pt x="348" y="708"/>
                  </a:lnTo>
                  <a:lnTo>
                    <a:pt x="348" y="702"/>
                  </a:lnTo>
                  <a:lnTo>
                    <a:pt x="348" y="708"/>
                  </a:lnTo>
                  <a:lnTo>
                    <a:pt x="348" y="714"/>
                  </a:lnTo>
                  <a:lnTo>
                    <a:pt x="342" y="714"/>
                  </a:lnTo>
                  <a:lnTo>
                    <a:pt x="336" y="714"/>
                  </a:lnTo>
                  <a:lnTo>
                    <a:pt x="330" y="714"/>
                  </a:lnTo>
                  <a:lnTo>
                    <a:pt x="324" y="714"/>
                  </a:lnTo>
                  <a:lnTo>
                    <a:pt x="324" y="720"/>
                  </a:lnTo>
                  <a:lnTo>
                    <a:pt x="318" y="714"/>
                  </a:lnTo>
                  <a:lnTo>
                    <a:pt x="318" y="720"/>
                  </a:lnTo>
                  <a:lnTo>
                    <a:pt x="312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294" y="720"/>
                  </a:lnTo>
                  <a:lnTo>
                    <a:pt x="288" y="720"/>
                  </a:lnTo>
                  <a:lnTo>
                    <a:pt x="282" y="720"/>
                  </a:lnTo>
                  <a:lnTo>
                    <a:pt x="276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2" y="738"/>
                  </a:lnTo>
                  <a:lnTo>
                    <a:pt x="276" y="738"/>
                  </a:lnTo>
                  <a:lnTo>
                    <a:pt x="276" y="744"/>
                  </a:lnTo>
                  <a:lnTo>
                    <a:pt x="276" y="750"/>
                  </a:lnTo>
                  <a:lnTo>
                    <a:pt x="270" y="750"/>
                  </a:lnTo>
                  <a:lnTo>
                    <a:pt x="270" y="756"/>
                  </a:lnTo>
                  <a:lnTo>
                    <a:pt x="264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40" y="768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04" y="774"/>
                  </a:lnTo>
                  <a:lnTo>
                    <a:pt x="198" y="774"/>
                  </a:lnTo>
                  <a:lnTo>
                    <a:pt x="198" y="780"/>
                  </a:lnTo>
                  <a:lnTo>
                    <a:pt x="192" y="780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62" y="792"/>
                  </a:lnTo>
                  <a:lnTo>
                    <a:pt x="162" y="786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6" y="774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50" y="780"/>
                  </a:lnTo>
                  <a:lnTo>
                    <a:pt x="150" y="786"/>
                  </a:lnTo>
                  <a:lnTo>
                    <a:pt x="144" y="786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32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14" y="798"/>
                  </a:lnTo>
                  <a:lnTo>
                    <a:pt x="114" y="792"/>
                  </a:lnTo>
                  <a:lnTo>
                    <a:pt x="102" y="792"/>
                  </a:lnTo>
                  <a:lnTo>
                    <a:pt x="108" y="792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102" y="774"/>
                  </a:lnTo>
                  <a:lnTo>
                    <a:pt x="96" y="768"/>
                  </a:lnTo>
                  <a:lnTo>
                    <a:pt x="90" y="756"/>
                  </a:lnTo>
                  <a:lnTo>
                    <a:pt x="90" y="750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38"/>
                  </a:lnTo>
                  <a:lnTo>
                    <a:pt x="78" y="738"/>
                  </a:lnTo>
                  <a:lnTo>
                    <a:pt x="78" y="732"/>
                  </a:lnTo>
                  <a:lnTo>
                    <a:pt x="72" y="732"/>
                  </a:lnTo>
                  <a:lnTo>
                    <a:pt x="66" y="732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54" y="720"/>
                  </a:lnTo>
                  <a:lnTo>
                    <a:pt x="54" y="714"/>
                  </a:lnTo>
                  <a:lnTo>
                    <a:pt x="48" y="714"/>
                  </a:lnTo>
                  <a:lnTo>
                    <a:pt x="48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0" y="690"/>
                  </a:lnTo>
                  <a:lnTo>
                    <a:pt x="30" y="684"/>
                  </a:lnTo>
                  <a:lnTo>
                    <a:pt x="30" y="678"/>
                  </a:lnTo>
                  <a:lnTo>
                    <a:pt x="36" y="678"/>
                  </a:lnTo>
                  <a:lnTo>
                    <a:pt x="36" y="672"/>
                  </a:lnTo>
                  <a:lnTo>
                    <a:pt x="42" y="672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72"/>
                  </a:lnTo>
                  <a:lnTo>
                    <a:pt x="72" y="672"/>
                  </a:lnTo>
                  <a:lnTo>
                    <a:pt x="78" y="672"/>
                  </a:lnTo>
                  <a:lnTo>
                    <a:pt x="84" y="672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102" y="672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6" y="654"/>
                  </a:lnTo>
                  <a:lnTo>
                    <a:pt x="90" y="654"/>
                  </a:lnTo>
                  <a:lnTo>
                    <a:pt x="90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78" y="630"/>
                  </a:lnTo>
                  <a:lnTo>
                    <a:pt x="84" y="630"/>
                  </a:lnTo>
                  <a:lnTo>
                    <a:pt x="84" y="624"/>
                  </a:lnTo>
                  <a:lnTo>
                    <a:pt x="78" y="624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84" y="594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84" y="576"/>
                  </a:lnTo>
                  <a:lnTo>
                    <a:pt x="78" y="576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78" y="570"/>
                  </a:lnTo>
                  <a:lnTo>
                    <a:pt x="84" y="570"/>
                  </a:lnTo>
                  <a:lnTo>
                    <a:pt x="78" y="570"/>
                  </a:lnTo>
                  <a:lnTo>
                    <a:pt x="78" y="564"/>
                  </a:lnTo>
                  <a:lnTo>
                    <a:pt x="72" y="564"/>
                  </a:lnTo>
                  <a:lnTo>
                    <a:pt x="72" y="558"/>
                  </a:lnTo>
                  <a:lnTo>
                    <a:pt x="72" y="552"/>
                  </a:lnTo>
                  <a:lnTo>
                    <a:pt x="72" y="546"/>
                  </a:lnTo>
                  <a:lnTo>
                    <a:pt x="66" y="540"/>
                  </a:lnTo>
                  <a:lnTo>
                    <a:pt x="60" y="540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54" y="528"/>
                  </a:lnTo>
                  <a:lnTo>
                    <a:pt x="54" y="522"/>
                  </a:lnTo>
                  <a:lnTo>
                    <a:pt x="48" y="516"/>
                  </a:lnTo>
                  <a:lnTo>
                    <a:pt x="30" y="516"/>
                  </a:lnTo>
                  <a:lnTo>
                    <a:pt x="24" y="504"/>
                  </a:lnTo>
                  <a:lnTo>
                    <a:pt x="12" y="492"/>
                  </a:lnTo>
                  <a:lnTo>
                    <a:pt x="12" y="486"/>
                  </a:lnTo>
                  <a:lnTo>
                    <a:pt x="6" y="486"/>
                  </a:lnTo>
                  <a:lnTo>
                    <a:pt x="0" y="456"/>
                  </a:lnTo>
                  <a:lnTo>
                    <a:pt x="0" y="450"/>
                  </a:lnTo>
                  <a:lnTo>
                    <a:pt x="6" y="444"/>
                  </a:lnTo>
                  <a:lnTo>
                    <a:pt x="12" y="444"/>
                  </a:lnTo>
                  <a:lnTo>
                    <a:pt x="12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8" y="420"/>
                  </a:lnTo>
                  <a:lnTo>
                    <a:pt x="24" y="414"/>
                  </a:lnTo>
                  <a:lnTo>
                    <a:pt x="36" y="396"/>
                  </a:lnTo>
                  <a:lnTo>
                    <a:pt x="42" y="390"/>
                  </a:lnTo>
                  <a:lnTo>
                    <a:pt x="48" y="384"/>
                  </a:lnTo>
                  <a:lnTo>
                    <a:pt x="60" y="372"/>
                  </a:lnTo>
                  <a:lnTo>
                    <a:pt x="66" y="366"/>
                  </a:lnTo>
                  <a:lnTo>
                    <a:pt x="72" y="354"/>
                  </a:lnTo>
                  <a:lnTo>
                    <a:pt x="102" y="330"/>
                  </a:lnTo>
                  <a:lnTo>
                    <a:pt x="108" y="234"/>
                  </a:lnTo>
                  <a:lnTo>
                    <a:pt x="108" y="222"/>
                  </a:lnTo>
                  <a:lnTo>
                    <a:pt x="108" y="216"/>
                  </a:lnTo>
                  <a:lnTo>
                    <a:pt x="108" y="210"/>
                  </a:lnTo>
                  <a:lnTo>
                    <a:pt x="114" y="198"/>
                  </a:lnTo>
                  <a:lnTo>
                    <a:pt x="114" y="192"/>
                  </a:lnTo>
                  <a:lnTo>
                    <a:pt x="114" y="186"/>
                  </a:lnTo>
                  <a:lnTo>
                    <a:pt x="114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90" y="102"/>
                  </a:lnTo>
                  <a:lnTo>
                    <a:pt x="84" y="102"/>
                  </a:lnTo>
                  <a:lnTo>
                    <a:pt x="84" y="96"/>
                  </a:lnTo>
                  <a:lnTo>
                    <a:pt x="84" y="72"/>
                  </a:lnTo>
                  <a:lnTo>
                    <a:pt x="84" y="54"/>
                  </a:lnTo>
                  <a:lnTo>
                    <a:pt x="78" y="24"/>
                  </a:lnTo>
                  <a:close/>
                </a:path>
              </a:pathLst>
            </a:custGeom>
            <a:solidFill>
              <a:srgbClr val="87CF27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2" name="Freeform 92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auto">
            <a:xfrm>
              <a:off x="4025" y="1369"/>
              <a:ext cx="240" cy="370"/>
            </a:xfrm>
            <a:custGeom>
              <a:avLst/>
              <a:gdLst>
                <a:gd name="T0" fmla="*/ 1 w 384"/>
                <a:gd name="T1" fmla="*/ 29 h 570"/>
                <a:gd name="T2" fmla="*/ 2 w 384"/>
                <a:gd name="T3" fmla="*/ 27 h 570"/>
                <a:gd name="T4" fmla="*/ 3 w 384"/>
                <a:gd name="T5" fmla="*/ 25 h 570"/>
                <a:gd name="T6" fmla="*/ 4 w 384"/>
                <a:gd name="T7" fmla="*/ 25 h 570"/>
                <a:gd name="T8" fmla="*/ 4 w 384"/>
                <a:gd name="T9" fmla="*/ 23 h 570"/>
                <a:gd name="T10" fmla="*/ 6 w 384"/>
                <a:gd name="T11" fmla="*/ 22 h 570"/>
                <a:gd name="T12" fmla="*/ 7 w 384"/>
                <a:gd name="T13" fmla="*/ 23 h 570"/>
                <a:gd name="T14" fmla="*/ 8 w 384"/>
                <a:gd name="T15" fmla="*/ 24 h 570"/>
                <a:gd name="T16" fmla="*/ 9 w 384"/>
                <a:gd name="T17" fmla="*/ 23 h 570"/>
                <a:gd name="T18" fmla="*/ 10 w 384"/>
                <a:gd name="T19" fmla="*/ 22 h 570"/>
                <a:gd name="T20" fmla="*/ 11 w 384"/>
                <a:gd name="T21" fmla="*/ 20 h 570"/>
                <a:gd name="T22" fmla="*/ 11 w 384"/>
                <a:gd name="T23" fmla="*/ 18 h 570"/>
                <a:gd name="T24" fmla="*/ 13 w 384"/>
                <a:gd name="T25" fmla="*/ 16 h 570"/>
                <a:gd name="T26" fmla="*/ 13 w 384"/>
                <a:gd name="T27" fmla="*/ 14 h 570"/>
                <a:gd name="T28" fmla="*/ 14 w 384"/>
                <a:gd name="T29" fmla="*/ 12 h 570"/>
                <a:gd name="T30" fmla="*/ 15 w 384"/>
                <a:gd name="T31" fmla="*/ 12 h 570"/>
                <a:gd name="T32" fmla="*/ 15 w 384"/>
                <a:gd name="T33" fmla="*/ 8 h 570"/>
                <a:gd name="T34" fmla="*/ 17 w 384"/>
                <a:gd name="T35" fmla="*/ 6 h 570"/>
                <a:gd name="T36" fmla="*/ 18 w 384"/>
                <a:gd name="T37" fmla="*/ 6 h 570"/>
                <a:gd name="T38" fmla="*/ 18 w 384"/>
                <a:gd name="T39" fmla="*/ 3 h 570"/>
                <a:gd name="T40" fmla="*/ 17 w 384"/>
                <a:gd name="T41" fmla="*/ 0 h 570"/>
                <a:gd name="T42" fmla="*/ 18 w 384"/>
                <a:gd name="T43" fmla="*/ 2 h 570"/>
                <a:gd name="T44" fmla="*/ 19 w 384"/>
                <a:gd name="T45" fmla="*/ 4 h 570"/>
                <a:gd name="T46" fmla="*/ 20 w 384"/>
                <a:gd name="T47" fmla="*/ 5 h 570"/>
                <a:gd name="T48" fmla="*/ 20 w 384"/>
                <a:gd name="T49" fmla="*/ 5 h 570"/>
                <a:gd name="T50" fmla="*/ 19 w 384"/>
                <a:gd name="T51" fmla="*/ 8 h 570"/>
                <a:gd name="T52" fmla="*/ 20 w 384"/>
                <a:gd name="T53" fmla="*/ 10 h 570"/>
                <a:gd name="T54" fmla="*/ 21 w 384"/>
                <a:gd name="T55" fmla="*/ 12 h 570"/>
                <a:gd name="T56" fmla="*/ 18 w 384"/>
                <a:gd name="T57" fmla="*/ 12 h 570"/>
                <a:gd name="T58" fmla="*/ 17 w 384"/>
                <a:gd name="T59" fmla="*/ 12 h 570"/>
                <a:gd name="T60" fmla="*/ 18 w 384"/>
                <a:gd name="T61" fmla="*/ 15 h 570"/>
                <a:gd name="T62" fmla="*/ 20 w 384"/>
                <a:gd name="T63" fmla="*/ 16 h 570"/>
                <a:gd name="T64" fmla="*/ 21 w 384"/>
                <a:gd name="T65" fmla="*/ 20 h 570"/>
                <a:gd name="T66" fmla="*/ 21 w 384"/>
                <a:gd name="T67" fmla="*/ 21 h 570"/>
                <a:gd name="T68" fmla="*/ 19 w 384"/>
                <a:gd name="T69" fmla="*/ 23 h 570"/>
                <a:gd name="T70" fmla="*/ 18 w 384"/>
                <a:gd name="T71" fmla="*/ 26 h 570"/>
                <a:gd name="T72" fmla="*/ 18 w 384"/>
                <a:gd name="T73" fmla="*/ 28 h 570"/>
                <a:gd name="T74" fmla="*/ 18 w 384"/>
                <a:gd name="T75" fmla="*/ 29 h 570"/>
                <a:gd name="T76" fmla="*/ 19 w 384"/>
                <a:gd name="T77" fmla="*/ 32 h 570"/>
                <a:gd name="T78" fmla="*/ 20 w 384"/>
                <a:gd name="T79" fmla="*/ 34 h 570"/>
                <a:gd name="T80" fmla="*/ 21 w 384"/>
                <a:gd name="T81" fmla="*/ 37 h 570"/>
                <a:gd name="T82" fmla="*/ 23 w 384"/>
                <a:gd name="T83" fmla="*/ 39 h 570"/>
                <a:gd name="T84" fmla="*/ 23 w 384"/>
                <a:gd name="T85" fmla="*/ 40 h 570"/>
                <a:gd name="T86" fmla="*/ 23 w 384"/>
                <a:gd name="T87" fmla="*/ 42 h 570"/>
                <a:gd name="T88" fmla="*/ 21 w 384"/>
                <a:gd name="T89" fmla="*/ 42 h 570"/>
                <a:gd name="T90" fmla="*/ 19 w 384"/>
                <a:gd name="T91" fmla="*/ 42 h 570"/>
                <a:gd name="T92" fmla="*/ 18 w 384"/>
                <a:gd name="T93" fmla="*/ 40 h 570"/>
                <a:gd name="T94" fmla="*/ 14 w 384"/>
                <a:gd name="T95" fmla="*/ 40 h 570"/>
                <a:gd name="T96" fmla="*/ 11 w 384"/>
                <a:gd name="T97" fmla="*/ 40 h 570"/>
                <a:gd name="T98" fmla="*/ 9 w 384"/>
                <a:gd name="T99" fmla="*/ 40 h 570"/>
                <a:gd name="T100" fmla="*/ 9 w 384"/>
                <a:gd name="T101" fmla="*/ 40 h 570"/>
                <a:gd name="T102" fmla="*/ 8 w 384"/>
                <a:gd name="T103" fmla="*/ 41 h 570"/>
                <a:gd name="T104" fmla="*/ 4 w 384"/>
                <a:gd name="T105" fmla="*/ 40 h 570"/>
                <a:gd name="T106" fmla="*/ 4 w 384"/>
                <a:gd name="T107" fmla="*/ 38 h 570"/>
                <a:gd name="T108" fmla="*/ 4 w 384"/>
                <a:gd name="T109" fmla="*/ 36 h 570"/>
                <a:gd name="T110" fmla="*/ 4 w 384"/>
                <a:gd name="T111" fmla="*/ 34 h 570"/>
                <a:gd name="T112" fmla="*/ 3 w 384"/>
                <a:gd name="T113" fmla="*/ 34 h 570"/>
                <a:gd name="T114" fmla="*/ 3 w 384"/>
                <a:gd name="T115" fmla="*/ 34 h 570"/>
                <a:gd name="T116" fmla="*/ 1 w 384"/>
                <a:gd name="T117" fmla="*/ 32 h 570"/>
                <a:gd name="T118" fmla="*/ 1 w 384"/>
                <a:gd name="T119" fmla="*/ 32 h 5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84" h="570">
                  <a:moveTo>
                    <a:pt x="0" y="414"/>
                  </a:move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12" y="402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18" y="390"/>
                  </a:lnTo>
                  <a:lnTo>
                    <a:pt x="18" y="384"/>
                  </a:lnTo>
                  <a:lnTo>
                    <a:pt x="18" y="378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66" y="318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72" y="312"/>
                  </a:lnTo>
                  <a:lnTo>
                    <a:pt x="72" y="306"/>
                  </a:lnTo>
                  <a:lnTo>
                    <a:pt x="78" y="306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84" y="312"/>
                  </a:lnTo>
                  <a:lnTo>
                    <a:pt x="96" y="306"/>
                  </a:lnTo>
                  <a:lnTo>
                    <a:pt x="102" y="306"/>
                  </a:lnTo>
                  <a:lnTo>
                    <a:pt x="102" y="300"/>
                  </a:lnTo>
                  <a:lnTo>
                    <a:pt x="102" y="294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6" y="318"/>
                  </a:lnTo>
                  <a:lnTo>
                    <a:pt x="132" y="318"/>
                  </a:lnTo>
                  <a:lnTo>
                    <a:pt x="132" y="324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0" y="312"/>
                  </a:lnTo>
                  <a:lnTo>
                    <a:pt x="156" y="312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56" y="306"/>
                  </a:lnTo>
                  <a:lnTo>
                    <a:pt x="156" y="300"/>
                  </a:lnTo>
                  <a:lnTo>
                    <a:pt x="162" y="300"/>
                  </a:lnTo>
                  <a:lnTo>
                    <a:pt x="168" y="300"/>
                  </a:lnTo>
                  <a:lnTo>
                    <a:pt x="162" y="294"/>
                  </a:lnTo>
                  <a:lnTo>
                    <a:pt x="162" y="288"/>
                  </a:lnTo>
                  <a:lnTo>
                    <a:pt x="168" y="288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74" y="264"/>
                  </a:lnTo>
                  <a:lnTo>
                    <a:pt x="180" y="264"/>
                  </a:lnTo>
                  <a:lnTo>
                    <a:pt x="180" y="258"/>
                  </a:lnTo>
                  <a:lnTo>
                    <a:pt x="186" y="258"/>
                  </a:lnTo>
                  <a:lnTo>
                    <a:pt x="186" y="252"/>
                  </a:lnTo>
                  <a:lnTo>
                    <a:pt x="186" y="246"/>
                  </a:lnTo>
                  <a:lnTo>
                    <a:pt x="186" y="240"/>
                  </a:lnTo>
                  <a:lnTo>
                    <a:pt x="186" y="234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22"/>
                  </a:lnTo>
                  <a:lnTo>
                    <a:pt x="204" y="222"/>
                  </a:lnTo>
                  <a:lnTo>
                    <a:pt x="210" y="222"/>
                  </a:lnTo>
                  <a:lnTo>
                    <a:pt x="210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6" y="210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22" y="186"/>
                  </a:lnTo>
                  <a:lnTo>
                    <a:pt x="222" y="180"/>
                  </a:lnTo>
                  <a:lnTo>
                    <a:pt x="228" y="180"/>
                  </a:lnTo>
                  <a:lnTo>
                    <a:pt x="234" y="180"/>
                  </a:lnTo>
                  <a:lnTo>
                    <a:pt x="234" y="174"/>
                  </a:lnTo>
                  <a:lnTo>
                    <a:pt x="234" y="168"/>
                  </a:lnTo>
                  <a:lnTo>
                    <a:pt x="240" y="168"/>
                  </a:lnTo>
                  <a:lnTo>
                    <a:pt x="240" y="162"/>
                  </a:lnTo>
                  <a:lnTo>
                    <a:pt x="234" y="162"/>
                  </a:lnTo>
                  <a:lnTo>
                    <a:pt x="234" y="156"/>
                  </a:lnTo>
                  <a:lnTo>
                    <a:pt x="240" y="156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50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52" y="138"/>
                  </a:lnTo>
                  <a:lnTo>
                    <a:pt x="252" y="132"/>
                  </a:lnTo>
                  <a:lnTo>
                    <a:pt x="252" y="126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58" y="114"/>
                  </a:lnTo>
                  <a:lnTo>
                    <a:pt x="258" y="108"/>
                  </a:lnTo>
                  <a:lnTo>
                    <a:pt x="264" y="102"/>
                  </a:lnTo>
                  <a:lnTo>
                    <a:pt x="264" y="96"/>
                  </a:lnTo>
                  <a:lnTo>
                    <a:pt x="270" y="96"/>
                  </a:lnTo>
                  <a:lnTo>
                    <a:pt x="270" y="90"/>
                  </a:lnTo>
                  <a:lnTo>
                    <a:pt x="276" y="90"/>
                  </a:lnTo>
                  <a:lnTo>
                    <a:pt x="282" y="90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78"/>
                  </a:lnTo>
                  <a:lnTo>
                    <a:pt x="306" y="78"/>
                  </a:lnTo>
                  <a:lnTo>
                    <a:pt x="306" y="72"/>
                  </a:lnTo>
                  <a:lnTo>
                    <a:pt x="300" y="72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60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0" y="42"/>
                  </a:lnTo>
                  <a:lnTo>
                    <a:pt x="300" y="36"/>
                  </a:lnTo>
                  <a:lnTo>
                    <a:pt x="294" y="36"/>
                  </a:lnTo>
                  <a:lnTo>
                    <a:pt x="288" y="36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0"/>
                  </a:lnTo>
                  <a:lnTo>
                    <a:pt x="294" y="0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18" y="42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30" y="60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0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24" y="108"/>
                  </a:lnTo>
                  <a:lnTo>
                    <a:pt x="330" y="108"/>
                  </a:lnTo>
                  <a:lnTo>
                    <a:pt x="330" y="114"/>
                  </a:lnTo>
                  <a:lnTo>
                    <a:pt x="324" y="114"/>
                  </a:lnTo>
                  <a:lnTo>
                    <a:pt x="330" y="120"/>
                  </a:lnTo>
                  <a:lnTo>
                    <a:pt x="330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42" y="144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48" y="156"/>
                  </a:lnTo>
                  <a:lnTo>
                    <a:pt x="342" y="156"/>
                  </a:lnTo>
                  <a:lnTo>
                    <a:pt x="336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18" y="156"/>
                  </a:lnTo>
                  <a:lnTo>
                    <a:pt x="312" y="156"/>
                  </a:lnTo>
                  <a:lnTo>
                    <a:pt x="306" y="156"/>
                  </a:lnTo>
                  <a:lnTo>
                    <a:pt x="300" y="156"/>
                  </a:lnTo>
                  <a:lnTo>
                    <a:pt x="294" y="156"/>
                  </a:lnTo>
                  <a:lnTo>
                    <a:pt x="288" y="156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76" y="162"/>
                  </a:lnTo>
                  <a:lnTo>
                    <a:pt x="276" y="168"/>
                  </a:lnTo>
                  <a:lnTo>
                    <a:pt x="276" y="174"/>
                  </a:lnTo>
                  <a:lnTo>
                    <a:pt x="282" y="180"/>
                  </a:lnTo>
                  <a:lnTo>
                    <a:pt x="288" y="186"/>
                  </a:lnTo>
                  <a:lnTo>
                    <a:pt x="294" y="192"/>
                  </a:lnTo>
                  <a:lnTo>
                    <a:pt x="294" y="198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6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30" y="222"/>
                  </a:lnTo>
                  <a:lnTo>
                    <a:pt x="336" y="222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52"/>
                  </a:lnTo>
                  <a:lnTo>
                    <a:pt x="348" y="258"/>
                  </a:lnTo>
                  <a:lnTo>
                    <a:pt x="348" y="264"/>
                  </a:lnTo>
                  <a:lnTo>
                    <a:pt x="354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48" y="276"/>
                  </a:lnTo>
                  <a:lnTo>
                    <a:pt x="348" y="282"/>
                  </a:lnTo>
                  <a:lnTo>
                    <a:pt x="342" y="282"/>
                  </a:lnTo>
                  <a:lnTo>
                    <a:pt x="342" y="288"/>
                  </a:lnTo>
                  <a:lnTo>
                    <a:pt x="336" y="288"/>
                  </a:lnTo>
                  <a:lnTo>
                    <a:pt x="336" y="294"/>
                  </a:lnTo>
                  <a:lnTo>
                    <a:pt x="330" y="300"/>
                  </a:lnTo>
                  <a:lnTo>
                    <a:pt x="330" y="306"/>
                  </a:lnTo>
                  <a:lnTo>
                    <a:pt x="330" y="312"/>
                  </a:lnTo>
                  <a:lnTo>
                    <a:pt x="324" y="312"/>
                  </a:lnTo>
                  <a:lnTo>
                    <a:pt x="324" y="318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12" y="336"/>
                  </a:lnTo>
                  <a:lnTo>
                    <a:pt x="312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300" y="348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300" y="354"/>
                  </a:lnTo>
                  <a:lnTo>
                    <a:pt x="300" y="360"/>
                  </a:lnTo>
                  <a:lnTo>
                    <a:pt x="306" y="360"/>
                  </a:lnTo>
                  <a:lnTo>
                    <a:pt x="306" y="366"/>
                  </a:lnTo>
                  <a:lnTo>
                    <a:pt x="306" y="372"/>
                  </a:lnTo>
                  <a:lnTo>
                    <a:pt x="300" y="372"/>
                  </a:lnTo>
                  <a:lnTo>
                    <a:pt x="306" y="372"/>
                  </a:lnTo>
                  <a:lnTo>
                    <a:pt x="306" y="378"/>
                  </a:lnTo>
                  <a:lnTo>
                    <a:pt x="306" y="384"/>
                  </a:lnTo>
                  <a:lnTo>
                    <a:pt x="300" y="384"/>
                  </a:lnTo>
                  <a:lnTo>
                    <a:pt x="300" y="390"/>
                  </a:lnTo>
                  <a:lnTo>
                    <a:pt x="306" y="390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12" y="426"/>
                  </a:lnTo>
                  <a:lnTo>
                    <a:pt x="318" y="426"/>
                  </a:lnTo>
                  <a:lnTo>
                    <a:pt x="318" y="432"/>
                  </a:lnTo>
                  <a:lnTo>
                    <a:pt x="324" y="432"/>
                  </a:lnTo>
                  <a:lnTo>
                    <a:pt x="324" y="438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0"/>
                  </a:lnTo>
                  <a:lnTo>
                    <a:pt x="330" y="450"/>
                  </a:lnTo>
                  <a:lnTo>
                    <a:pt x="330" y="456"/>
                  </a:lnTo>
                  <a:lnTo>
                    <a:pt x="336" y="468"/>
                  </a:lnTo>
                  <a:lnTo>
                    <a:pt x="342" y="474"/>
                  </a:lnTo>
                  <a:lnTo>
                    <a:pt x="348" y="480"/>
                  </a:lnTo>
                  <a:lnTo>
                    <a:pt x="360" y="498"/>
                  </a:lnTo>
                  <a:lnTo>
                    <a:pt x="366" y="498"/>
                  </a:lnTo>
                  <a:lnTo>
                    <a:pt x="372" y="498"/>
                  </a:lnTo>
                  <a:lnTo>
                    <a:pt x="372" y="504"/>
                  </a:lnTo>
                  <a:lnTo>
                    <a:pt x="378" y="504"/>
                  </a:lnTo>
                  <a:lnTo>
                    <a:pt x="378" y="510"/>
                  </a:lnTo>
                  <a:lnTo>
                    <a:pt x="378" y="516"/>
                  </a:lnTo>
                  <a:lnTo>
                    <a:pt x="378" y="522"/>
                  </a:lnTo>
                  <a:lnTo>
                    <a:pt x="378" y="528"/>
                  </a:lnTo>
                  <a:lnTo>
                    <a:pt x="378" y="534"/>
                  </a:lnTo>
                  <a:lnTo>
                    <a:pt x="378" y="540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52"/>
                  </a:lnTo>
                  <a:lnTo>
                    <a:pt x="378" y="558"/>
                  </a:lnTo>
                  <a:lnTo>
                    <a:pt x="378" y="564"/>
                  </a:lnTo>
                  <a:lnTo>
                    <a:pt x="378" y="570"/>
                  </a:lnTo>
                  <a:lnTo>
                    <a:pt x="372" y="570"/>
                  </a:lnTo>
                  <a:lnTo>
                    <a:pt x="372" y="564"/>
                  </a:lnTo>
                  <a:lnTo>
                    <a:pt x="366" y="564"/>
                  </a:lnTo>
                  <a:lnTo>
                    <a:pt x="366" y="558"/>
                  </a:lnTo>
                  <a:lnTo>
                    <a:pt x="360" y="558"/>
                  </a:lnTo>
                  <a:lnTo>
                    <a:pt x="354" y="558"/>
                  </a:lnTo>
                  <a:lnTo>
                    <a:pt x="354" y="552"/>
                  </a:lnTo>
                  <a:lnTo>
                    <a:pt x="348" y="552"/>
                  </a:lnTo>
                  <a:lnTo>
                    <a:pt x="342" y="552"/>
                  </a:lnTo>
                  <a:lnTo>
                    <a:pt x="342" y="558"/>
                  </a:lnTo>
                  <a:lnTo>
                    <a:pt x="342" y="552"/>
                  </a:lnTo>
                  <a:lnTo>
                    <a:pt x="336" y="558"/>
                  </a:lnTo>
                  <a:lnTo>
                    <a:pt x="336" y="552"/>
                  </a:lnTo>
                  <a:lnTo>
                    <a:pt x="330" y="552"/>
                  </a:lnTo>
                  <a:lnTo>
                    <a:pt x="324" y="552"/>
                  </a:lnTo>
                  <a:lnTo>
                    <a:pt x="318" y="552"/>
                  </a:lnTo>
                  <a:lnTo>
                    <a:pt x="318" y="546"/>
                  </a:lnTo>
                  <a:lnTo>
                    <a:pt x="312" y="546"/>
                  </a:lnTo>
                  <a:lnTo>
                    <a:pt x="312" y="552"/>
                  </a:lnTo>
                  <a:lnTo>
                    <a:pt x="312" y="546"/>
                  </a:lnTo>
                  <a:lnTo>
                    <a:pt x="306" y="546"/>
                  </a:lnTo>
                  <a:lnTo>
                    <a:pt x="306" y="540"/>
                  </a:lnTo>
                  <a:lnTo>
                    <a:pt x="300" y="540"/>
                  </a:lnTo>
                  <a:lnTo>
                    <a:pt x="294" y="546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8" y="546"/>
                  </a:lnTo>
                  <a:lnTo>
                    <a:pt x="240" y="546"/>
                  </a:lnTo>
                  <a:lnTo>
                    <a:pt x="240" y="540"/>
                  </a:lnTo>
                  <a:lnTo>
                    <a:pt x="234" y="540"/>
                  </a:lnTo>
                  <a:lnTo>
                    <a:pt x="228" y="540"/>
                  </a:lnTo>
                  <a:lnTo>
                    <a:pt x="222" y="540"/>
                  </a:lnTo>
                  <a:lnTo>
                    <a:pt x="216" y="540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40"/>
                  </a:lnTo>
                  <a:lnTo>
                    <a:pt x="174" y="540"/>
                  </a:lnTo>
                  <a:lnTo>
                    <a:pt x="168" y="540"/>
                  </a:lnTo>
                  <a:lnTo>
                    <a:pt x="162" y="540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46"/>
                  </a:lnTo>
                  <a:lnTo>
                    <a:pt x="138" y="546"/>
                  </a:lnTo>
                  <a:lnTo>
                    <a:pt x="132" y="540"/>
                  </a:lnTo>
                  <a:lnTo>
                    <a:pt x="132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66" y="540"/>
                  </a:lnTo>
                  <a:lnTo>
                    <a:pt x="66" y="534"/>
                  </a:lnTo>
                  <a:lnTo>
                    <a:pt x="66" y="528"/>
                  </a:lnTo>
                  <a:lnTo>
                    <a:pt x="66" y="522"/>
                  </a:lnTo>
                  <a:lnTo>
                    <a:pt x="66" y="516"/>
                  </a:lnTo>
                  <a:lnTo>
                    <a:pt x="72" y="510"/>
                  </a:lnTo>
                  <a:lnTo>
                    <a:pt x="66" y="510"/>
                  </a:lnTo>
                  <a:lnTo>
                    <a:pt x="72" y="510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0" y="480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60" y="450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54" y="450"/>
                  </a:lnTo>
                  <a:lnTo>
                    <a:pt x="54" y="456"/>
                  </a:lnTo>
                  <a:lnTo>
                    <a:pt x="48" y="456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0" y="450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24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2" y="426"/>
                  </a:lnTo>
                  <a:lnTo>
                    <a:pt x="12" y="420"/>
                  </a:lnTo>
                  <a:lnTo>
                    <a:pt x="6" y="420"/>
                  </a:lnTo>
                  <a:lnTo>
                    <a:pt x="6" y="414"/>
                  </a:lnTo>
                  <a:lnTo>
                    <a:pt x="6" y="420"/>
                  </a:lnTo>
                  <a:lnTo>
                    <a:pt x="6" y="426"/>
                  </a:lnTo>
                  <a:lnTo>
                    <a:pt x="12" y="426"/>
                  </a:lnTo>
                  <a:lnTo>
                    <a:pt x="6" y="426"/>
                  </a:lnTo>
                  <a:lnTo>
                    <a:pt x="0" y="426"/>
                  </a:lnTo>
                  <a:lnTo>
                    <a:pt x="0" y="420"/>
                  </a:lnTo>
                  <a:lnTo>
                    <a:pt x="6" y="420"/>
                  </a:lnTo>
                  <a:lnTo>
                    <a:pt x="0" y="42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87CF27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3" name="Freeform 93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auto">
            <a:xfrm>
              <a:off x="4208" y="1434"/>
              <a:ext cx="398" cy="285"/>
            </a:xfrm>
            <a:custGeom>
              <a:avLst/>
              <a:gdLst>
                <a:gd name="T0" fmla="*/ 5 w 648"/>
                <a:gd name="T1" fmla="*/ 13 h 438"/>
                <a:gd name="T2" fmla="*/ 6 w 648"/>
                <a:gd name="T3" fmla="*/ 12 h 438"/>
                <a:gd name="T4" fmla="*/ 7 w 648"/>
                <a:gd name="T5" fmla="*/ 13 h 438"/>
                <a:gd name="T6" fmla="*/ 8 w 648"/>
                <a:gd name="T7" fmla="*/ 12 h 438"/>
                <a:gd name="T8" fmla="*/ 9 w 648"/>
                <a:gd name="T9" fmla="*/ 12 h 438"/>
                <a:gd name="T10" fmla="*/ 12 w 648"/>
                <a:gd name="T11" fmla="*/ 10 h 438"/>
                <a:gd name="T12" fmla="*/ 12 w 648"/>
                <a:gd name="T13" fmla="*/ 8 h 438"/>
                <a:gd name="T14" fmla="*/ 15 w 648"/>
                <a:gd name="T15" fmla="*/ 8 h 438"/>
                <a:gd name="T16" fmla="*/ 16 w 648"/>
                <a:gd name="T17" fmla="*/ 7 h 438"/>
                <a:gd name="T18" fmla="*/ 17 w 648"/>
                <a:gd name="T19" fmla="*/ 5 h 438"/>
                <a:gd name="T20" fmla="*/ 18 w 648"/>
                <a:gd name="T21" fmla="*/ 5 h 438"/>
                <a:gd name="T22" fmla="*/ 20 w 648"/>
                <a:gd name="T23" fmla="*/ 3 h 438"/>
                <a:gd name="T24" fmla="*/ 20 w 648"/>
                <a:gd name="T25" fmla="*/ 1 h 438"/>
                <a:gd name="T26" fmla="*/ 21 w 648"/>
                <a:gd name="T27" fmla="*/ 1 h 438"/>
                <a:gd name="T28" fmla="*/ 23 w 648"/>
                <a:gd name="T29" fmla="*/ 1 h 438"/>
                <a:gd name="T30" fmla="*/ 24 w 648"/>
                <a:gd name="T31" fmla="*/ 2 h 438"/>
                <a:gd name="T32" fmla="*/ 25 w 648"/>
                <a:gd name="T33" fmla="*/ 7 h 438"/>
                <a:gd name="T34" fmla="*/ 25 w 648"/>
                <a:gd name="T35" fmla="*/ 8 h 438"/>
                <a:gd name="T36" fmla="*/ 26 w 648"/>
                <a:gd name="T37" fmla="*/ 8 h 438"/>
                <a:gd name="T38" fmla="*/ 27 w 648"/>
                <a:gd name="T39" fmla="*/ 10 h 438"/>
                <a:gd name="T40" fmla="*/ 28 w 648"/>
                <a:gd name="T41" fmla="*/ 12 h 438"/>
                <a:gd name="T42" fmla="*/ 29 w 648"/>
                <a:gd name="T43" fmla="*/ 14 h 438"/>
                <a:gd name="T44" fmla="*/ 30 w 648"/>
                <a:gd name="T45" fmla="*/ 15 h 438"/>
                <a:gd name="T46" fmla="*/ 32 w 648"/>
                <a:gd name="T47" fmla="*/ 17 h 438"/>
                <a:gd name="T48" fmla="*/ 32 w 648"/>
                <a:gd name="T49" fmla="*/ 20 h 438"/>
                <a:gd name="T50" fmla="*/ 34 w 648"/>
                <a:gd name="T51" fmla="*/ 20 h 438"/>
                <a:gd name="T52" fmla="*/ 35 w 648"/>
                <a:gd name="T53" fmla="*/ 23 h 438"/>
                <a:gd name="T54" fmla="*/ 33 w 648"/>
                <a:gd name="T55" fmla="*/ 23 h 438"/>
                <a:gd name="T56" fmla="*/ 33 w 648"/>
                <a:gd name="T57" fmla="*/ 23 h 438"/>
                <a:gd name="T58" fmla="*/ 32 w 648"/>
                <a:gd name="T59" fmla="*/ 22 h 438"/>
                <a:gd name="T60" fmla="*/ 31 w 648"/>
                <a:gd name="T61" fmla="*/ 22 h 438"/>
                <a:gd name="T62" fmla="*/ 30 w 648"/>
                <a:gd name="T63" fmla="*/ 21 h 438"/>
                <a:gd name="T64" fmla="*/ 29 w 648"/>
                <a:gd name="T65" fmla="*/ 21 h 438"/>
                <a:gd name="T66" fmla="*/ 28 w 648"/>
                <a:gd name="T67" fmla="*/ 23 h 438"/>
                <a:gd name="T68" fmla="*/ 27 w 648"/>
                <a:gd name="T69" fmla="*/ 22 h 438"/>
                <a:gd name="T70" fmla="*/ 26 w 648"/>
                <a:gd name="T71" fmla="*/ 23 h 438"/>
                <a:gd name="T72" fmla="*/ 25 w 648"/>
                <a:gd name="T73" fmla="*/ 23 h 438"/>
                <a:gd name="T74" fmla="*/ 23 w 648"/>
                <a:gd name="T75" fmla="*/ 23 h 438"/>
                <a:gd name="T76" fmla="*/ 22 w 648"/>
                <a:gd name="T77" fmla="*/ 25 h 438"/>
                <a:gd name="T78" fmla="*/ 21 w 648"/>
                <a:gd name="T79" fmla="*/ 26 h 438"/>
                <a:gd name="T80" fmla="*/ 20 w 648"/>
                <a:gd name="T81" fmla="*/ 26 h 438"/>
                <a:gd name="T82" fmla="*/ 17 w 648"/>
                <a:gd name="T83" fmla="*/ 25 h 438"/>
                <a:gd name="T84" fmla="*/ 15 w 648"/>
                <a:gd name="T85" fmla="*/ 23 h 438"/>
                <a:gd name="T86" fmla="*/ 14 w 648"/>
                <a:gd name="T87" fmla="*/ 22 h 438"/>
                <a:gd name="T88" fmla="*/ 12 w 648"/>
                <a:gd name="T89" fmla="*/ 24 h 438"/>
                <a:gd name="T90" fmla="*/ 11 w 648"/>
                <a:gd name="T91" fmla="*/ 26 h 438"/>
                <a:gd name="T92" fmla="*/ 11 w 648"/>
                <a:gd name="T93" fmla="*/ 28 h 438"/>
                <a:gd name="T94" fmla="*/ 9 w 648"/>
                <a:gd name="T95" fmla="*/ 28 h 438"/>
                <a:gd name="T96" fmla="*/ 7 w 648"/>
                <a:gd name="T97" fmla="*/ 28 h 438"/>
                <a:gd name="T98" fmla="*/ 6 w 648"/>
                <a:gd name="T99" fmla="*/ 30 h 438"/>
                <a:gd name="T100" fmla="*/ 4 w 648"/>
                <a:gd name="T101" fmla="*/ 31 h 438"/>
                <a:gd name="T102" fmla="*/ 2 w 648"/>
                <a:gd name="T103" fmla="*/ 28 h 438"/>
                <a:gd name="T104" fmla="*/ 1 w 648"/>
                <a:gd name="T105" fmla="*/ 26 h 438"/>
                <a:gd name="T106" fmla="*/ 1 w 648"/>
                <a:gd name="T107" fmla="*/ 23 h 438"/>
                <a:gd name="T108" fmla="*/ 1 w 648"/>
                <a:gd name="T109" fmla="*/ 21 h 438"/>
                <a:gd name="T110" fmla="*/ 0 w 648"/>
                <a:gd name="T111" fmla="*/ 19 h 438"/>
                <a:gd name="T112" fmla="*/ 1 w 648"/>
                <a:gd name="T113" fmla="*/ 16 h 438"/>
                <a:gd name="T114" fmla="*/ 2 w 648"/>
                <a:gd name="T115" fmla="*/ 14 h 4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648" h="438">
                  <a:moveTo>
                    <a:pt x="54" y="174"/>
                  </a:moveTo>
                  <a:lnTo>
                    <a:pt x="66" y="174"/>
                  </a:lnTo>
                  <a:lnTo>
                    <a:pt x="66" y="180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74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8" y="156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14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32" y="168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50" y="162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50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2" y="132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8" y="120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22" y="114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52" y="102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96"/>
                  </a:lnTo>
                  <a:lnTo>
                    <a:pt x="282" y="96"/>
                  </a:lnTo>
                  <a:lnTo>
                    <a:pt x="288" y="96"/>
                  </a:lnTo>
                  <a:lnTo>
                    <a:pt x="294" y="96"/>
                  </a:lnTo>
                  <a:lnTo>
                    <a:pt x="300" y="96"/>
                  </a:lnTo>
                  <a:lnTo>
                    <a:pt x="300" y="90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6" y="84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0" y="60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0" y="30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18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84" y="6"/>
                  </a:lnTo>
                  <a:lnTo>
                    <a:pt x="390" y="6"/>
                  </a:lnTo>
                  <a:lnTo>
                    <a:pt x="396" y="6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8" y="6"/>
                  </a:lnTo>
                  <a:lnTo>
                    <a:pt x="414" y="6"/>
                  </a:lnTo>
                  <a:lnTo>
                    <a:pt x="420" y="6"/>
                  </a:lnTo>
                  <a:lnTo>
                    <a:pt x="420" y="12"/>
                  </a:lnTo>
                  <a:lnTo>
                    <a:pt x="426" y="12"/>
                  </a:lnTo>
                  <a:lnTo>
                    <a:pt x="426" y="18"/>
                  </a:lnTo>
                  <a:lnTo>
                    <a:pt x="432" y="18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62" y="60"/>
                  </a:lnTo>
                  <a:lnTo>
                    <a:pt x="462" y="72"/>
                  </a:lnTo>
                  <a:lnTo>
                    <a:pt x="456" y="72"/>
                  </a:lnTo>
                  <a:lnTo>
                    <a:pt x="456" y="78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6" y="90"/>
                  </a:lnTo>
                  <a:lnTo>
                    <a:pt x="456" y="96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56" y="102"/>
                  </a:lnTo>
                  <a:lnTo>
                    <a:pt x="456" y="108"/>
                  </a:lnTo>
                  <a:lnTo>
                    <a:pt x="450" y="108"/>
                  </a:lnTo>
                  <a:lnTo>
                    <a:pt x="450" y="114"/>
                  </a:lnTo>
                  <a:lnTo>
                    <a:pt x="456" y="114"/>
                  </a:lnTo>
                  <a:lnTo>
                    <a:pt x="462" y="114"/>
                  </a:lnTo>
                  <a:lnTo>
                    <a:pt x="468" y="114"/>
                  </a:lnTo>
                  <a:lnTo>
                    <a:pt x="474" y="114"/>
                  </a:lnTo>
                  <a:lnTo>
                    <a:pt x="480" y="114"/>
                  </a:lnTo>
                  <a:lnTo>
                    <a:pt x="480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486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92" y="138"/>
                  </a:lnTo>
                  <a:lnTo>
                    <a:pt x="498" y="138"/>
                  </a:lnTo>
                  <a:lnTo>
                    <a:pt x="504" y="138"/>
                  </a:lnTo>
                  <a:lnTo>
                    <a:pt x="504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0" y="144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6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0"/>
                  </a:lnTo>
                  <a:lnTo>
                    <a:pt x="546" y="186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8" y="192"/>
                  </a:lnTo>
                  <a:lnTo>
                    <a:pt x="564" y="192"/>
                  </a:lnTo>
                  <a:lnTo>
                    <a:pt x="564" y="198"/>
                  </a:lnTo>
                  <a:lnTo>
                    <a:pt x="570" y="198"/>
                  </a:lnTo>
                  <a:lnTo>
                    <a:pt x="576" y="198"/>
                  </a:lnTo>
                  <a:lnTo>
                    <a:pt x="576" y="204"/>
                  </a:lnTo>
                  <a:lnTo>
                    <a:pt x="582" y="204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94" y="216"/>
                  </a:lnTo>
                  <a:lnTo>
                    <a:pt x="594" y="222"/>
                  </a:lnTo>
                  <a:lnTo>
                    <a:pt x="594" y="228"/>
                  </a:lnTo>
                  <a:lnTo>
                    <a:pt x="588" y="228"/>
                  </a:lnTo>
                  <a:lnTo>
                    <a:pt x="588" y="234"/>
                  </a:lnTo>
                  <a:lnTo>
                    <a:pt x="594" y="234"/>
                  </a:lnTo>
                  <a:lnTo>
                    <a:pt x="600" y="234"/>
                  </a:lnTo>
                  <a:lnTo>
                    <a:pt x="600" y="240"/>
                  </a:lnTo>
                  <a:lnTo>
                    <a:pt x="600" y="246"/>
                  </a:lnTo>
                  <a:lnTo>
                    <a:pt x="600" y="252"/>
                  </a:lnTo>
                  <a:lnTo>
                    <a:pt x="606" y="252"/>
                  </a:lnTo>
                  <a:lnTo>
                    <a:pt x="612" y="252"/>
                  </a:lnTo>
                  <a:lnTo>
                    <a:pt x="618" y="252"/>
                  </a:lnTo>
                  <a:lnTo>
                    <a:pt x="618" y="258"/>
                  </a:lnTo>
                  <a:lnTo>
                    <a:pt x="624" y="258"/>
                  </a:lnTo>
                  <a:lnTo>
                    <a:pt x="630" y="258"/>
                  </a:lnTo>
                  <a:lnTo>
                    <a:pt x="630" y="264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6" y="276"/>
                  </a:lnTo>
                  <a:lnTo>
                    <a:pt x="636" y="282"/>
                  </a:lnTo>
                  <a:lnTo>
                    <a:pt x="636" y="288"/>
                  </a:lnTo>
                  <a:lnTo>
                    <a:pt x="642" y="288"/>
                  </a:lnTo>
                  <a:lnTo>
                    <a:pt x="642" y="294"/>
                  </a:lnTo>
                  <a:lnTo>
                    <a:pt x="648" y="294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2" y="294"/>
                  </a:lnTo>
                  <a:lnTo>
                    <a:pt x="636" y="294"/>
                  </a:lnTo>
                  <a:lnTo>
                    <a:pt x="630" y="294"/>
                  </a:lnTo>
                  <a:lnTo>
                    <a:pt x="630" y="288"/>
                  </a:lnTo>
                  <a:lnTo>
                    <a:pt x="624" y="294"/>
                  </a:lnTo>
                  <a:lnTo>
                    <a:pt x="618" y="294"/>
                  </a:lnTo>
                  <a:lnTo>
                    <a:pt x="618" y="300"/>
                  </a:lnTo>
                  <a:lnTo>
                    <a:pt x="612" y="300"/>
                  </a:lnTo>
                  <a:lnTo>
                    <a:pt x="612" y="294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0" y="300"/>
                  </a:lnTo>
                  <a:lnTo>
                    <a:pt x="600" y="294"/>
                  </a:lnTo>
                  <a:lnTo>
                    <a:pt x="594" y="294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2" y="288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64" y="294"/>
                  </a:lnTo>
                  <a:lnTo>
                    <a:pt x="564" y="288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0" y="288"/>
                  </a:lnTo>
                  <a:lnTo>
                    <a:pt x="540" y="294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34" y="300"/>
                  </a:lnTo>
                  <a:lnTo>
                    <a:pt x="528" y="300"/>
                  </a:lnTo>
                  <a:lnTo>
                    <a:pt x="528" y="306"/>
                  </a:lnTo>
                  <a:lnTo>
                    <a:pt x="528" y="300"/>
                  </a:lnTo>
                  <a:lnTo>
                    <a:pt x="522" y="300"/>
                  </a:lnTo>
                  <a:lnTo>
                    <a:pt x="522" y="306"/>
                  </a:lnTo>
                  <a:lnTo>
                    <a:pt x="516" y="306"/>
                  </a:lnTo>
                  <a:lnTo>
                    <a:pt x="510" y="306"/>
                  </a:lnTo>
                  <a:lnTo>
                    <a:pt x="510" y="300"/>
                  </a:lnTo>
                  <a:lnTo>
                    <a:pt x="504" y="300"/>
                  </a:lnTo>
                  <a:lnTo>
                    <a:pt x="504" y="294"/>
                  </a:lnTo>
                  <a:lnTo>
                    <a:pt x="498" y="294"/>
                  </a:lnTo>
                  <a:lnTo>
                    <a:pt x="498" y="300"/>
                  </a:lnTo>
                  <a:lnTo>
                    <a:pt x="498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8" y="300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6" y="300"/>
                  </a:lnTo>
                  <a:lnTo>
                    <a:pt x="486" y="306"/>
                  </a:lnTo>
                  <a:lnTo>
                    <a:pt x="480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68" y="312"/>
                  </a:lnTo>
                  <a:lnTo>
                    <a:pt x="462" y="312"/>
                  </a:lnTo>
                  <a:lnTo>
                    <a:pt x="456" y="312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50" y="324"/>
                  </a:lnTo>
                  <a:lnTo>
                    <a:pt x="444" y="324"/>
                  </a:lnTo>
                  <a:lnTo>
                    <a:pt x="444" y="318"/>
                  </a:lnTo>
                  <a:lnTo>
                    <a:pt x="438" y="318"/>
                  </a:lnTo>
                  <a:lnTo>
                    <a:pt x="438" y="312"/>
                  </a:lnTo>
                  <a:lnTo>
                    <a:pt x="432" y="312"/>
                  </a:lnTo>
                  <a:lnTo>
                    <a:pt x="432" y="318"/>
                  </a:lnTo>
                  <a:lnTo>
                    <a:pt x="426" y="312"/>
                  </a:lnTo>
                  <a:lnTo>
                    <a:pt x="420" y="312"/>
                  </a:lnTo>
                  <a:lnTo>
                    <a:pt x="420" y="318"/>
                  </a:lnTo>
                  <a:lnTo>
                    <a:pt x="420" y="312"/>
                  </a:lnTo>
                  <a:lnTo>
                    <a:pt x="414" y="312"/>
                  </a:lnTo>
                  <a:lnTo>
                    <a:pt x="414" y="318"/>
                  </a:lnTo>
                  <a:lnTo>
                    <a:pt x="414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8" y="324"/>
                  </a:lnTo>
                  <a:lnTo>
                    <a:pt x="408" y="330"/>
                  </a:lnTo>
                  <a:lnTo>
                    <a:pt x="408" y="336"/>
                  </a:lnTo>
                  <a:lnTo>
                    <a:pt x="402" y="336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8" y="342"/>
                  </a:lnTo>
                  <a:lnTo>
                    <a:pt x="378" y="336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2" y="336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24"/>
                  </a:lnTo>
                  <a:lnTo>
                    <a:pt x="300" y="318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88" y="312"/>
                  </a:lnTo>
                  <a:lnTo>
                    <a:pt x="288" y="306"/>
                  </a:lnTo>
                  <a:lnTo>
                    <a:pt x="282" y="306"/>
                  </a:lnTo>
                  <a:lnTo>
                    <a:pt x="276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64" y="294"/>
                  </a:lnTo>
                  <a:lnTo>
                    <a:pt x="258" y="294"/>
                  </a:lnTo>
                  <a:lnTo>
                    <a:pt x="252" y="294"/>
                  </a:lnTo>
                  <a:lnTo>
                    <a:pt x="246" y="294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306"/>
                  </a:lnTo>
                  <a:lnTo>
                    <a:pt x="234" y="306"/>
                  </a:lnTo>
                  <a:lnTo>
                    <a:pt x="228" y="306"/>
                  </a:lnTo>
                  <a:lnTo>
                    <a:pt x="228" y="312"/>
                  </a:lnTo>
                  <a:lnTo>
                    <a:pt x="222" y="318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6" y="330"/>
                  </a:lnTo>
                  <a:lnTo>
                    <a:pt x="210" y="336"/>
                  </a:lnTo>
                  <a:lnTo>
                    <a:pt x="210" y="330"/>
                  </a:lnTo>
                  <a:lnTo>
                    <a:pt x="204" y="336"/>
                  </a:lnTo>
                  <a:lnTo>
                    <a:pt x="210" y="342"/>
                  </a:lnTo>
                  <a:lnTo>
                    <a:pt x="210" y="348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210" y="366"/>
                  </a:lnTo>
                  <a:lnTo>
                    <a:pt x="210" y="372"/>
                  </a:lnTo>
                  <a:lnTo>
                    <a:pt x="210" y="378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198" y="372"/>
                  </a:lnTo>
                  <a:lnTo>
                    <a:pt x="192" y="372"/>
                  </a:lnTo>
                  <a:lnTo>
                    <a:pt x="192" y="378"/>
                  </a:lnTo>
                  <a:lnTo>
                    <a:pt x="186" y="378"/>
                  </a:lnTo>
                  <a:lnTo>
                    <a:pt x="186" y="372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66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2" y="372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08" y="378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02" y="390"/>
                  </a:lnTo>
                  <a:lnTo>
                    <a:pt x="102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102" y="408"/>
                  </a:lnTo>
                  <a:lnTo>
                    <a:pt x="90" y="438"/>
                  </a:lnTo>
                  <a:lnTo>
                    <a:pt x="84" y="438"/>
                  </a:lnTo>
                  <a:lnTo>
                    <a:pt x="84" y="432"/>
                  </a:lnTo>
                  <a:lnTo>
                    <a:pt x="84" y="426"/>
                  </a:lnTo>
                  <a:lnTo>
                    <a:pt x="84" y="420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396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2" y="366"/>
                  </a:lnTo>
                  <a:lnTo>
                    <a:pt x="36" y="354"/>
                  </a:lnTo>
                  <a:lnTo>
                    <a:pt x="36" y="348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6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2" y="312"/>
                  </a:lnTo>
                  <a:lnTo>
                    <a:pt x="18" y="312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8"/>
                  </a:lnTo>
                  <a:lnTo>
                    <a:pt x="6" y="282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6" y="270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12" y="258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2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54" y="180"/>
                  </a:lnTo>
                  <a:lnTo>
                    <a:pt x="54" y="174"/>
                  </a:lnTo>
                  <a:close/>
                </a:path>
              </a:pathLst>
            </a:custGeom>
            <a:solidFill>
              <a:srgbClr val="87CF27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4" name="Freeform 94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auto">
            <a:xfrm>
              <a:off x="4034" y="1713"/>
              <a:ext cx="179" cy="208"/>
            </a:xfrm>
            <a:custGeom>
              <a:avLst/>
              <a:gdLst>
                <a:gd name="T0" fmla="*/ 2 w 288"/>
                <a:gd name="T1" fmla="*/ 9 h 318"/>
                <a:gd name="T2" fmla="*/ 3 w 288"/>
                <a:gd name="T3" fmla="*/ 9 h 318"/>
                <a:gd name="T4" fmla="*/ 2 w 288"/>
                <a:gd name="T5" fmla="*/ 8 h 318"/>
                <a:gd name="T6" fmla="*/ 2 w 288"/>
                <a:gd name="T7" fmla="*/ 7 h 318"/>
                <a:gd name="T8" fmla="*/ 2 w 288"/>
                <a:gd name="T9" fmla="*/ 6 h 318"/>
                <a:gd name="T10" fmla="*/ 4 w 288"/>
                <a:gd name="T11" fmla="*/ 5 h 318"/>
                <a:gd name="T12" fmla="*/ 7 w 288"/>
                <a:gd name="T13" fmla="*/ 1 h 318"/>
                <a:gd name="T14" fmla="*/ 8 w 288"/>
                <a:gd name="T15" fmla="*/ 0 h 318"/>
                <a:gd name="T16" fmla="*/ 9 w 288"/>
                <a:gd name="T17" fmla="*/ 1 h 318"/>
                <a:gd name="T18" fmla="*/ 9 w 288"/>
                <a:gd name="T19" fmla="*/ 1 h 318"/>
                <a:gd name="T20" fmla="*/ 11 w 288"/>
                <a:gd name="T21" fmla="*/ 1 h 318"/>
                <a:gd name="T22" fmla="*/ 13 w 288"/>
                <a:gd name="T23" fmla="*/ 1 h 318"/>
                <a:gd name="T24" fmla="*/ 13 w 288"/>
                <a:gd name="T25" fmla="*/ 2 h 318"/>
                <a:gd name="T26" fmla="*/ 13 w 288"/>
                <a:gd name="T27" fmla="*/ 3 h 318"/>
                <a:gd name="T28" fmla="*/ 14 w 288"/>
                <a:gd name="T29" fmla="*/ 5 h 318"/>
                <a:gd name="T30" fmla="*/ 15 w 288"/>
                <a:gd name="T31" fmla="*/ 4 h 318"/>
                <a:gd name="T32" fmla="*/ 16 w 288"/>
                <a:gd name="T33" fmla="*/ 5 h 318"/>
                <a:gd name="T34" fmla="*/ 16 w 288"/>
                <a:gd name="T35" fmla="*/ 6 h 318"/>
                <a:gd name="T36" fmla="*/ 16 w 288"/>
                <a:gd name="T37" fmla="*/ 7 h 318"/>
                <a:gd name="T38" fmla="*/ 15 w 288"/>
                <a:gd name="T39" fmla="*/ 9 h 318"/>
                <a:gd name="T40" fmla="*/ 15 w 288"/>
                <a:gd name="T41" fmla="*/ 10 h 318"/>
                <a:gd name="T42" fmla="*/ 16 w 288"/>
                <a:gd name="T43" fmla="*/ 11 h 318"/>
                <a:gd name="T44" fmla="*/ 16 w 288"/>
                <a:gd name="T45" fmla="*/ 13 h 318"/>
                <a:gd name="T46" fmla="*/ 17 w 288"/>
                <a:gd name="T47" fmla="*/ 15 h 318"/>
                <a:gd name="T48" fmla="*/ 16 w 288"/>
                <a:gd name="T49" fmla="*/ 17 h 318"/>
                <a:gd name="T50" fmla="*/ 15 w 288"/>
                <a:gd name="T51" fmla="*/ 19 h 318"/>
                <a:gd name="T52" fmla="*/ 15 w 288"/>
                <a:gd name="T53" fmla="*/ 18 h 318"/>
                <a:gd name="T54" fmla="*/ 14 w 288"/>
                <a:gd name="T55" fmla="*/ 19 h 318"/>
                <a:gd name="T56" fmla="*/ 12 w 288"/>
                <a:gd name="T57" fmla="*/ 18 h 318"/>
                <a:gd name="T58" fmla="*/ 12 w 288"/>
                <a:gd name="T59" fmla="*/ 17 h 318"/>
                <a:gd name="T60" fmla="*/ 11 w 288"/>
                <a:gd name="T61" fmla="*/ 18 h 318"/>
                <a:gd name="T62" fmla="*/ 9 w 288"/>
                <a:gd name="T63" fmla="*/ 18 h 318"/>
                <a:gd name="T64" fmla="*/ 9 w 288"/>
                <a:gd name="T65" fmla="*/ 19 h 318"/>
                <a:gd name="T66" fmla="*/ 9 w 288"/>
                <a:gd name="T67" fmla="*/ 20 h 318"/>
                <a:gd name="T68" fmla="*/ 9 w 288"/>
                <a:gd name="T69" fmla="*/ 22 h 318"/>
                <a:gd name="T70" fmla="*/ 9 w 288"/>
                <a:gd name="T71" fmla="*/ 23 h 318"/>
                <a:gd name="T72" fmla="*/ 9 w 288"/>
                <a:gd name="T73" fmla="*/ 24 h 318"/>
                <a:gd name="T74" fmla="*/ 7 w 288"/>
                <a:gd name="T75" fmla="*/ 24 h 318"/>
                <a:gd name="T76" fmla="*/ 7 w 288"/>
                <a:gd name="T77" fmla="*/ 24 h 318"/>
                <a:gd name="T78" fmla="*/ 6 w 288"/>
                <a:gd name="T79" fmla="*/ 23 h 318"/>
                <a:gd name="T80" fmla="*/ 6 w 288"/>
                <a:gd name="T81" fmla="*/ 22 h 318"/>
                <a:gd name="T82" fmla="*/ 4 w 288"/>
                <a:gd name="T83" fmla="*/ 20 h 318"/>
                <a:gd name="T84" fmla="*/ 4 w 288"/>
                <a:gd name="T85" fmla="*/ 20 h 318"/>
                <a:gd name="T86" fmla="*/ 2 w 288"/>
                <a:gd name="T87" fmla="*/ 19 h 318"/>
                <a:gd name="T88" fmla="*/ 1 w 288"/>
                <a:gd name="T89" fmla="*/ 17 h 318"/>
                <a:gd name="T90" fmla="*/ 1 w 288"/>
                <a:gd name="T91" fmla="*/ 15 h 318"/>
                <a:gd name="T92" fmla="*/ 1 w 288"/>
                <a:gd name="T93" fmla="*/ 14 h 318"/>
                <a:gd name="T94" fmla="*/ 1 w 288"/>
                <a:gd name="T95" fmla="*/ 13 h 318"/>
                <a:gd name="T96" fmla="*/ 0 w 288"/>
                <a:gd name="T97" fmla="*/ 12 h 318"/>
                <a:gd name="T98" fmla="*/ 1 w 288"/>
                <a:gd name="T99" fmla="*/ 12 h 318"/>
                <a:gd name="T100" fmla="*/ 1 w 288"/>
                <a:gd name="T101" fmla="*/ 11 h 318"/>
                <a:gd name="T102" fmla="*/ 1 w 288"/>
                <a:gd name="T103" fmla="*/ 9 h 3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88" h="318">
                  <a:moveTo>
                    <a:pt x="30" y="102"/>
                  </a:moveTo>
                  <a:lnTo>
                    <a:pt x="30" y="108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54" y="108"/>
                  </a:lnTo>
                  <a:lnTo>
                    <a:pt x="60" y="108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6" y="6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2" y="54"/>
                  </a:lnTo>
                  <a:lnTo>
                    <a:pt x="228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0" y="48"/>
                  </a:lnTo>
                  <a:lnTo>
                    <a:pt x="246" y="48"/>
                  </a:lnTo>
                  <a:lnTo>
                    <a:pt x="252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6" y="48"/>
                  </a:lnTo>
                  <a:lnTo>
                    <a:pt x="276" y="54"/>
                  </a:lnTo>
                  <a:lnTo>
                    <a:pt x="276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88" y="78"/>
                  </a:lnTo>
                  <a:lnTo>
                    <a:pt x="282" y="78"/>
                  </a:lnTo>
                  <a:lnTo>
                    <a:pt x="282" y="84"/>
                  </a:lnTo>
                  <a:lnTo>
                    <a:pt x="276" y="90"/>
                  </a:lnTo>
                  <a:lnTo>
                    <a:pt x="270" y="90"/>
                  </a:lnTo>
                  <a:lnTo>
                    <a:pt x="264" y="90"/>
                  </a:lnTo>
                  <a:lnTo>
                    <a:pt x="264" y="96"/>
                  </a:lnTo>
                  <a:lnTo>
                    <a:pt x="258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64" y="132"/>
                  </a:lnTo>
                  <a:lnTo>
                    <a:pt x="270" y="132"/>
                  </a:lnTo>
                  <a:lnTo>
                    <a:pt x="270" y="138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80"/>
                  </a:lnTo>
                  <a:lnTo>
                    <a:pt x="282" y="186"/>
                  </a:lnTo>
                  <a:lnTo>
                    <a:pt x="288" y="186"/>
                  </a:lnTo>
                  <a:lnTo>
                    <a:pt x="282" y="192"/>
                  </a:lnTo>
                  <a:lnTo>
                    <a:pt x="288" y="192"/>
                  </a:lnTo>
                  <a:lnTo>
                    <a:pt x="282" y="192"/>
                  </a:lnTo>
                  <a:lnTo>
                    <a:pt x="282" y="198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76" y="222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58" y="234"/>
                  </a:lnTo>
                  <a:lnTo>
                    <a:pt x="258" y="228"/>
                  </a:lnTo>
                  <a:lnTo>
                    <a:pt x="252" y="228"/>
                  </a:lnTo>
                  <a:lnTo>
                    <a:pt x="252" y="222"/>
                  </a:lnTo>
                  <a:lnTo>
                    <a:pt x="246" y="222"/>
                  </a:lnTo>
                  <a:lnTo>
                    <a:pt x="246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40"/>
                  </a:lnTo>
                  <a:lnTo>
                    <a:pt x="228" y="234"/>
                  </a:lnTo>
                  <a:lnTo>
                    <a:pt x="222" y="234"/>
                  </a:lnTo>
                  <a:lnTo>
                    <a:pt x="216" y="234"/>
                  </a:lnTo>
                  <a:lnTo>
                    <a:pt x="210" y="234"/>
                  </a:lnTo>
                  <a:lnTo>
                    <a:pt x="216" y="228"/>
                  </a:lnTo>
                  <a:lnTo>
                    <a:pt x="210" y="228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2" y="210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86" y="240"/>
                  </a:lnTo>
                  <a:lnTo>
                    <a:pt x="168" y="240"/>
                  </a:lnTo>
                  <a:lnTo>
                    <a:pt x="162" y="234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44" y="246"/>
                  </a:lnTo>
                  <a:lnTo>
                    <a:pt x="150" y="252"/>
                  </a:lnTo>
                  <a:lnTo>
                    <a:pt x="144" y="252"/>
                  </a:lnTo>
                  <a:lnTo>
                    <a:pt x="144" y="258"/>
                  </a:lnTo>
                  <a:lnTo>
                    <a:pt x="150" y="258"/>
                  </a:lnTo>
                  <a:lnTo>
                    <a:pt x="162" y="264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62" y="276"/>
                  </a:lnTo>
                  <a:lnTo>
                    <a:pt x="162" y="282"/>
                  </a:lnTo>
                  <a:lnTo>
                    <a:pt x="162" y="288"/>
                  </a:lnTo>
                  <a:lnTo>
                    <a:pt x="156" y="294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6" y="306"/>
                  </a:lnTo>
                  <a:lnTo>
                    <a:pt x="150" y="300"/>
                  </a:lnTo>
                  <a:lnTo>
                    <a:pt x="144" y="300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6" y="300"/>
                  </a:lnTo>
                  <a:lnTo>
                    <a:pt x="126" y="306"/>
                  </a:lnTo>
                  <a:lnTo>
                    <a:pt x="126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14" y="306"/>
                  </a:lnTo>
                  <a:lnTo>
                    <a:pt x="108" y="300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84" y="276"/>
                  </a:lnTo>
                  <a:lnTo>
                    <a:pt x="84" y="270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6" y="222"/>
                  </a:lnTo>
                  <a:lnTo>
                    <a:pt x="30" y="222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98"/>
                  </a:lnTo>
                  <a:lnTo>
                    <a:pt x="24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2" y="174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close/>
                </a:path>
              </a:pathLst>
            </a:custGeom>
            <a:solidFill>
              <a:srgbClr val="87CF27">
                <a:alpha val="65881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5" name="Freeform 95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auto">
            <a:xfrm>
              <a:off x="4108" y="1673"/>
              <a:ext cx="231" cy="279"/>
            </a:xfrm>
            <a:custGeom>
              <a:avLst/>
              <a:gdLst>
                <a:gd name="T0" fmla="*/ 1 w 372"/>
                <a:gd name="T1" fmla="*/ 26 h 432"/>
                <a:gd name="T2" fmla="*/ 2 w 372"/>
                <a:gd name="T3" fmla="*/ 26 h 432"/>
                <a:gd name="T4" fmla="*/ 2 w 372"/>
                <a:gd name="T5" fmla="*/ 25 h 432"/>
                <a:gd name="T6" fmla="*/ 1 w 372"/>
                <a:gd name="T7" fmla="*/ 23 h 432"/>
                <a:gd name="T8" fmla="*/ 1 w 372"/>
                <a:gd name="T9" fmla="*/ 22 h 432"/>
                <a:gd name="T10" fmla="*/ 4 w 372"/>
                <a:gd name="T11" fmla="*/ 23 h 432"/>
                <a:gd name="T12" fmla="*/ 4 w 372"/>
                <a:gd name="T13" fmla="*/ 20 h 432"/>
                <a:gd name="T14" fmla="*/ 6 w 372"/>
                <a:gd name="T15" fmla="*/ 21 h 432"/>
                <a:gd name="T16" fmla="*/ 7 w 372"/>
                <a:gd name="T17" fmla="*/ 23 h 432"/>
                <a:gd name="T18" fmla="*/ 7 w 372"/>
                <a:gd name="T19" fmla="*/ 21 h 432"/>
                <a:gd name="T20" fmla="*/ 9 w 372"/>
                <a:gd name="T21" fmla="*/ 21 h 432"/>
                <a:gd name="T22" fmla="*/ 9 w 372"/>
                <a:gd name="T23" fmla="*/ 19 h 432"/>
                <a:gd name="T24" fmla="*/ 10 w 372"/>
                <a:gd name="T25" fmla="*/ 18 h 432"/>
                <a:gd name="T26" fmla="*/ 9 w 372"/>
                <a:gd name="T27" fmla="*/ 15 h 432"/>
                <a:gd name="T28" fmla="*/ 7 w 372"/>
                <a:gd name="T29" fmla="*/ 15 h 432"/>
                <a:gd name="T30" fmla="*/ 7 w 372"/>
                <a:gd name="T31" fmla="*/ 12 h 432"/>
                <a:gd name="T32" fmla="*/ 9 w 372"/>
                <a:gd name="T33" fmla="*/ 10 h 432"/>
                <a:gd name="T34" fmla="*/ 9 w 372"/>
                <a:gd name="T35" fmla="*/ 9 h 432"/>
                <a:gd name="T36" fmla="*/ 7 w 372"/>
                <a:gd name="T37" fmla="*/ 8 h 432"/>
                <a:gd name="T38" fmla="*/ 7 w 372"/>
                <a:gd name="T39" fmla="*/ 9 h 432"/>
                <a:gd name="T40" fmla="*/ 6 w 372"/>
                <a:gd name="T41" fmla="*/ 8 h 432"/>
                <a:gd name="T42" fmla="*/ 6 w 372"/>
                <a:gd name="T43" fmla="*/ 6 h 432"/>
                <a:gd name="T44" fmla="*/ 10 w 372"/>
                <a:gd name="T45" fmla="*/ 5 h 432"/>
                <a:gd name="T46" fmla="*/ 11 w 372"/>
                <a:gd name="T47" fmla="*/ 6 h 432"/>
                <a:gd name="T48" fmla="*/ 12 w 372"/>
                <a:gd name="T49" fmla="*/ 6 h 432"/>
                <a:gd name="T50" fmla="*/ 14 w 372"/>
                <a:gd name="T51" fmla="*/ 6 h 432"/>
                <a:gd name="T52" fmla="*/ 14 w 372"/>
                <a:gd name="T53" fmla="*/ 6 h 432"/>
                <a:gd name="T54" fmla="*/ 14 w 372"/>
                <a:gd name="T55" fmla="*/ 5 h 432"/>
                <a:gd name="T56" fmla="*/ 16 w 372"/>
                <a:gd name="T57" fmla="*/ 2 h 432"/>
                <a:gd name="T58" fmla="*/ 17 w 372"/>
                <a:gd name="T59" fmla="*/ 1 h 432"/>
                <a:gd name="T60" fmla="*/ 19 w 372"/>
                <a:gd name="T61" fmla="*/ 0 h 432"/>
                <a:gd name="T62" fmla="*/ 20 w 372"/>
                <a:gd name="T63" fmla="*/ 1 h 432"/>
                <a:gd name="T64" fmla="*/ 21 w 372"/>
                <a:gd name="T65" fmla="*/ 1 h 432"/>
                <a:gd name="T66" fmla="*/ 20 w 372"/>
                <a:gd name="T67" fmla="*/ 3 h 432"/>
                <a:gd name="T68" fmla="*/ 20 w 372"/>
                <a:gd name="T69" fmla="*/ 5 h 432"/>
                <a:gd name="T70" fmla="*/ 20 w 372"/>
                <a:gd name="T71" fmla="*/ 8 h 432"/>
                <a:gd name="T72" fmla="*/ 19 w 372"/>
                <a:gd name="T73" fmla="*/ 10 h 432"/>
                <a:gd name="T74" fmla="*/ 19 w 372"/>
                <a:gd name="T75" fmla="*/ 12 h 432"/>
                <a:gd name="T76" fmla="*/ 19 w 372"/>
                <a:gd name="T77" fmla="*/ 14 h 432"/>
                <a:gd name="T78" fmla="*/ 18 w 372"/>
                <a:gd name="T79" fmla="*/ 16 h 432"/>
                <a:gd name="T80" fmla="*/ 17 w 372"/>
                <a:gd name="T81" fmla="*/ 17 h 432"/>
                <a:gd name="T82" fmla="*/ 16 w 372"/>
                <a:gd name="T83" fmla="*/ 20 h 432"/>
                <a:gd name="T84" fmla="*/ 14 w 372"/>
                <a:gd name="T85" fmla="*/ 22 h 432"/>
                <a:gd name="T86" fmla="*/ 14 w 372"/>
                <a:gd name="T87" fmla="*/ 24 h 432"/>
                <a:gd name="T88" fmla="*/ 14 w 372"/>
                <a:gd name="T89" fmla="*/ 27 h 432"/>
                <a:gd name="T90" fmla="*/ 12 w 372"/>
                <a:gd name="T91" fmla="*/ 28 h 432"/>
                <a:gd name="T92" fmla="*/ 11 w 372"/>
                <a:gd name="T93" fmla="*/ 30 h 432"/>
                <a:gd name="T94" fmla="*/ 10 w 372"/>
                <a:gd name="T95" fmla="*/ 31 h 432"/>
                <a:gd name="T96" fmla="*/ 9 w 372"/>
                <a:gd name="T97" fmla="*/ 30 h 432"/>
                <a:gd name="T98" fmla="*/ 9 w 372"/>
                <a:gd name="T99" fmla="*/ 29 h 432"/>
                <a:gd name="T100" fmla="*/ 7 w 372"/>
                <a:gd name="T101" fmla="*/ 30 h 432"/>
                <a:gd name="T102" fmla="*/ 7 w 372"/>
                <a:gd name="T103" fmla="*/ 30 h 432"/>
                <a:gd name="T104" fmla="*/ 6 w 372"/>
                <a:gd name="T105" fmla="*/ 30 h 432"/>
                <a:gd name="T106" fmla="*/ 4 w 372"/>
                <a:gd name="T107" fmla="*/ 30 h 432"/>
                <a:gd name="T108" fmla="*/ 2 w 372"/>
                <a:gd name="T109" fmla="*/ 31 h 432"/>
                <a:gd name="T110" fmla="*/ 1 w 372"/>
                <a:gd name="T111" fmla="*/ 30 h 432"/>
                <a:gd name="T112" fmla="*/ 1 w 372"/>
                <a:gd name="T113" fmla="*/ 29 h 43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372" h="432">
                  <a:moveTo>
                    <a:pt x="0" y="384"/>
                  </a:moveTo>
                  <a:lnTo>
                    <a:pt x="0" y="378"/>
                  </a:lnTo>
                  <a:lnTo>
                    <a:pt x="6" y="378"/>
                  </a:lnTo>
                  <a:lnTo>
                    <a:pt x="6" y="372"/>
                  </a:lnTo>
                  <a:lnTo>
                    <a:pt x="6" y="366"/>
                  </a:lnTo>
                  <a:lnTo>
                    <a:pt x="12" y="360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66"/>
                  </a:lnTo>
                  <a:lnTo>
                    <a:pt x="30" y="366"/>
                  </a:lnTo>
                  <a:lnTo>
                    <a:pt x="36" y="372"/>
                  </a:lnTo>
                  <a:lnTo>
                    <a:pt x="36" y="366"/>
                  </a:lnTo>
                  <a:lnTo>
                    <a:pt x="42" y="366"/>
                  </a:lnTo>
                  <a:lnTo>
                    <a:pt x="36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42" y="330"/>
                  </a:lnTo>
                  <a:lnTo>
                    <a:pt x="30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30" y="306"/>
                  </a:lnTo>
                  <a:lnTo>
                    <a:pt x="30" y="300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6" y="306"/>
                  </a:lnTo>
                  <a:lnTo>
                    <a:pt x="66" y="300"/>
                  </a:lnTo>
                  <a:lnTo>
                    <a:pt x="66" y="294"/>
                  </a:lnTo>
                  <a:lnTo>
                    <a:pt x="66" y="288"/>
                  </a:lnTo>
                  <a:lnTo>
                    <a:pt x="66" y="282"/>
                  </a:lnTo>
                  <a:lnTo>
                    <a:pt x="66" y="276"/>
                  </a:lnTo>
                  <a:lnTo>
                    <a:pt x="72" y="276"/>
                  </a:lnTo>
                  <a:lnTo>
                    <a:pt x="78" y="276"/>
                  </a:lnTo>
                  <a:lnTo>
                    <a:pt x="84" y="282"/>
                  </a:lnTo>
                  <a:lnTo>
                    <a:pt x="84" y="288"/>
                  </a:lnTo>
                  <a:lnTo>
                    <a:pt x="90" y="288"/>
                  </a:lnTo>
                  <a:lnTo>
                    <a:pt x="90" y="294"/>
                  </a:lnTo>
                  <a:lnTo>
                    <a:pt x="96" y="294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8" y="294"/>
                  </a:lnTo>
                  <a:lnTo>
                    <a:pt x="138" y="300"/>
                  </a:lnTo>
                  <a:lnTo>
                    <a:pt x="132" y="306"/>
                  </a:lnTo>
                  <a:lnTo>
                    <a:pt x="138" y="306"/>
                  </a:lnTo>
                  <a:lnTo>
                    <a:pt x="144" y="306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50" y="288"/>
                  </a:lnTo>
                  <a:lnTo>
                    <a:pt x="156" y="288"/>
                  </a:lnTo>
                  <a:lnTo>
                    <a:pt x="156" y="282"/>
                  </a:lnTo>
                  <a:lnTo>
                    <a:pt x="162" y="276"/>
                  </a:lnTo>
                  <a:lnTo>
                    <a:pt x="162" y="270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2" y="258"/>
                  </a:lnTo>
                  <a:lnTo>
                    <a:pt x="168" y="252"/>
                  </a:lnTo>
                  <a:lnTo>
                    <a:pt x="162" y="252"/>
                  </a:lnTo>
                  <a:lnTo>
                    <a:pt x="168" y="246"/>
                  </a:lnTo>
                  <a:lnTo>
                    <a:pt x="162" y="234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16"/>
                  </a:lnTo>
                  <a:lnTo>
                    <a:pt x="162" y="210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50" y="198"/>
                  </a:lnTo>
                  <a:lnTo>
                    <a:pt x="144" y="198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38" y="186"/>
                  </a:lnTo>
                  <a:lnTo>
                    <a:pt x="138" y="180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44" y="156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0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62" y="132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6" y="114"/>
                  </a:lnTo>
                  <a:lnTo>
                    <a:pt x="150" y="114"/>
                  </a:lnTo>
                  <a:lnTo>
                    <a:pt x="144" y="114"/>
                  </a:lnTo>
                  <a:lnTo>
                    <a:pt x="138" y="114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0" y="114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08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08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62" y="72"/>
                  </a:lnTo>
                  <a:lnTo>
                    <a:pt x="162" y="78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6" y="84"/>
                  </a:lnTo>
                  <a:lnTo>
                    <a:pt x="192" y="84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04" y="90"/>
                  </a:lnTo>
                  <a:lnTo>
                    <a:pt x="210" y="84"/>
                  </a:lnTo>
                  <a:lnTo>
                    <a:pt x="210" y="90"/>
                  </a:lnTo>
                  <a:lnTo>
                    <a:pt x="210" y="84"/>
                  </a:lnTo>
                  <a:lnTo>
                    <a:pt x="216" y="84"/>
                  </a:lnTo>
                  <a:lnTo>
                    <a:pt x="222" y="84"/>
                  </a:lnTo>
                  <a:lnTo>
                    <a:pt x="222" y="90"/>
                  </a:lnTo>
                  <a:lnTo>
                    <a:pt x="228" y="90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46" y="96"/>
                  </a:lnTo>
                  <a:lnTo>
                    <a:pt x="246" y="90"/>
                  </a:lnTo>
                  <a:lnTo>
                    <a:pt x="246" y="84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64" y="42"/>
                  </a:lnTo>
                  <a:lnTo>
                    <a:pt x="264" y="36"/>
                  </a:lnTo>
                  <a:lnTo>
                    <a:pt x="270" y="30"/>
                  </a:lnTo>
                  <a:lnTo>
                    <a:pt x="264" y="30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0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12" y="0"/>
                  </a:lnTo>
                  <a:lnTo>
                    <a:pt x="318" y="0"/>
                  </a:lnTo>
                  <a:lnTo>
                    <a:pt x="324" y="0"/>
                  </a:lnTo>
                  <a:lnTo>
                    <a:pt x="330" y="0"/>
                  </a:lnTo>
                  <a:lnTo>
                    <a:pt x="330" y="6"/>
                  </a:lnTo>
                  <a:lnTo>
                    <a:pt x="336" y="6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0" y="42"/>
                  </a:lnTo>
                  <a:lnTo>
                    <a:pt x="360" y="48"/>
                  </a:lnTo>
                  <a:lnTo>
                    <a:pt x="354" y="54"/>
                  </a:lnTo>
                  <a:lnTo>
                    <a:pt x="354" y="60"/>
                  </a:lnTo>
                  <a:lnTo>
                    <a:pt x="348" y="66"/>
                  </a:lnTo>
                  <a:lnTo>
                    <a:pt x="348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2" y="108"/>
                  </a:lnTo>
                  <a:lnTo>
                    <a:pt x="342" y="114"/>
                  </a:lnTo>
                  <a:lnTo>
                    <a:pt x="336" y="114"/>
                  </a:lnTo>
                  <a:lnTo>
                    <a:pt x="336" y="120"/>
                  </a:lnTo>
                  <a:lnTo>
                    <a:pt x="336" y="126"/>
                  </a:lnTo>
                  <a:lnTo>
                    <a:pt x="336" y="132"/>
                  </a:lnTo>
                  <a:lnTo>
                    <a:pt x="330" y="132"/>
                  </a:lnTo>
                  <a:lnTo>
                    <a:pt x="330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36" y="162"/>
                  </a:lnTo>
                  <a:lnTo>
                    <a:pt x="336" y="168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30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30" y="204"/>
                  </a:lnTo>
                  <a:lnTo>
                    <a:pt x="324" y="210"/>
                  </a:lnTo>
                  <a:lnTo>
                    <a:pt x="324" y="216"/>
                  </a:lnTo>
                  <a:lnTo>
                    <a:pt x="318" y="216"/>
                  </a:lnTo>
                  <a:lnTo>
                    <a:pt x="318" y="222"/>
                  </a:lnTo>
                  <a:lnTo>
                    <a:pt x="312" y="228"/>
                  </a:lnTo>
                  <a:lnTo>
                    <a:pt x="306" y="234"/>
                  </a:lnTo>
                  <a:lnTo>
                    <a:pt x="300" y="234"/>
                  </a:lnTo>
                  <a:lnTo>
                    <a:pt x="294" y="234"/>
                  </a:lnTo>
                  <a:lnTo>
                    <a:pt x="294" y="240"/>
                  </a:lnTo>
                  <a:lnTo>
                    <a:pt x="288" y="240"/>
                  </a:lnTo>
                  <a:lnTo>
                    <a:pt x="288" y="246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70"/>
                  </a:lnTo>
                  <a:lnTo>
                    <a:pt x="270" y="276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2" y="288"/>
                  </a:lnTo>
                  <a:lnTo>
                    <a:pt x="252" y="294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52" y="312"/>
                  </a:lnTo>
                  <a:lnTo>
                    <a:pt x="252" y="318"/>
                  </a:lnTo>
                  <a:lnTo>
                    <a:pt x="252" y="324"/>
                  </a:lnTo>
                  <a:lnTo>
                    <a:pt x="252" y="330"/>
                  </a:lnTo>
                  <a:lnTo>
                    <a:pt x="252" y="336"/>
                  </a:lnTo>
                  <a:lnTo>
                    <a:pt x="252" y="342"/>
                  </a:lnTo>
                  <a:lnTo>
                    <a:pt x="252" y="348"/>
                  </a:lnTo>
                  <a:lnTo>
                    <a:pt x="252" y="354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0" y="372"/>
                  </a:lnTo>
                  <a:lnTo>
                    <a:pt x="240" y="378"/>
                  </a:lnTo>
                  <a:lnTo>
                    <a:pt x="234" y="378"/>
                  </a:lnTo>
                  <a:lnTo>
                    <a:pt x="228" y="384"/>
                  </a:lnTo>
                  <a:lnTo>
                    <a:pt x="222" y="384"/>
                  </a:lnTo>
                  <a:lnTo>
                    <a:pt x="216" y="384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0" y="396"/>
                  </a:lnTo>
                  <a:lnTo>
                    <a:pt x="204" y="396"/>
                  </a:lnTo>
                  <a:lnTo>
                    <a:pt x="198" y="402"/>
                  </a:lnTo>
                  <a:lnTo>
                    <a:pt x="198" y="408"/>
                  </a:lnTo>
                  <a:lnTo>
                    <a:pt x="192" y="408"/>
                  </a:lnTo>
                  <a:lnTo>
                    <a:pt x="192" y="414"/>
                  </a:lnTo>
                  <a:lnTo>
                    <a:pt x="186" y="414"/>
                  </a:lnTo>
                  <a:lnTo>
                    <a:pt x="186" y="420"/>
                  </a:lnTo>
                  <a:lnTo>
                    <a:pt x="186" y="426"/>
                  </a:lnTo>
                  <a:lnTo>
                    <a:pt x="180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62" y="420"/>
                  </a:lnTo>
                  <a:lnTo>
                    <a:pt x="162" y="414"/>
                  </a:lnTo>
                  <a:lnTo>
                    <a:pt x="156" y="414"/>
                  </a:lnTo>
                  <a:lnTo>
                    <a:pt x="156" y="408"/>
                  </a:lnTo>
                  <a:lnTo>
                    <a:pt x="162" y="408"/>
                  </a:lnTo>
                  <a:lnTo>
                    <a:pt x="162" y="402"/>
                  </a:lnTo>
                  <a:lnTo>
                    <a:pt x="168" y="402"/>
                  </a:lnTo>
                  <a:lnTo>
                    <a:pt x="162" y="402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02"/>
                  </a:lnTo>
                  <a:lnTo>
                    <a:pt x="126" y="402"/>
                  </a:lnTo>
                  <a:lnTo>
                    <a:pt x="126" y="408"/>
                  </a:lnTo>
                  <a:lnTo>
                    <a:pt x="126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20"/>
                  </a:lnTo>
                  <a:lnTo>
                    <a:pt x="102" y="414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90" y="408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60" y="420"/>
                  </a:lnTo>
                  <a:lnTo>
                    <a:pt x="54" y="420"/>
                  </a:lnTo>
                  <a:lnTo>
                    <a:pt x="48" y="426"/>
                  </a:lnTo>
                  <a:lnTo>
                    <a:pt x="42" y="432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30" y="420"/>
                  </a:lnTo>
                  <a:lnTo>
                    <a:pt x="36" y="420"/>
                  </a:lnTo>
                  <a:lnTo>
                    <a:pt x="30" y="414"/>
                  </a:lnTo>
                  <a:lnTo>
                    <a:pt x="30" y="408"/>
                  </a:lnTo>
                  <a:lnTo>
                    <a:pt x="24" y="408"/>
                  </a:lnTo>
                  <a:lnTo>
                    <a:pt x="30" y="408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12" y="390"/>
                  </a:lnTo>
                  <a:lnTo>
                    <a:pt x="6" y="384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rgbClr val="87CF27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6" name="Freeform 96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auto">
            <a:xfrm>
              <a:off x="4051" y="1713"/>
              <a:ext cx="60" cy="49"/>
            </a:xfrm>
            <a:custGeom>
              <a:avLst/>
              <a:gdLst>
                <a:gd name="T0" fmla="*/ 2 w 96"/>
                <a:gd name="T1" fmla="*/ 0 h 72"/>
                <a:gd name="T2" fmla="*/ 2 w 96"/>
                <a:gd name="T3" fmla="*/ 1 h 72"/>
                <a:gd name="T4" fmla="*/ 2 w 96"/>
                <a:gd name="T5" fmla="*/ 1 h 72"/>
                <a:gd name="T6" fmla="*/ 2 w 96"/>
                <a:gd name="T7" fmla="*/ 1 h 72"/>
                <a:gd name="T8" fmla="*/ 3 w 96"/>
                <a:gd name="T9" fmla="*/ 1 h 72"/>
                <a:gd name="T10" fmla="*/ 3 w 96"/>
                <a:gd name="T11" fmla="*/ 1 h 72"/>
                <a:gd name="T12" fmla="*/ 3 w 96"/>
                <a:gd name="T13" fmla="*/ 1 h 72"/>
                <a:gd name="T14" fmla="*/ 3 w 96"/>
                <a:gd name="T15" fmla="*/ 1 h 72"/>
                <a:gd name="T16" fmla="*/ 6 w 96"/>
                <a:gd name="T17" fmla="*/ 1 h 72"/>
                <a:gd name="T18" fmla="*/ 6 w 96"/>
                <a:gd name="T19" fmla="*/ 1 h 72"/>
                <a:gd name="T20" fmla="*/ 6 w 96"/>
                <a:gd name="T21" fmla="*/ 1 h 72"/>
                <a:gd name="T22" fmla="*/ 6 w 96"/>
                <a:gd name="T23" fmla="*/ 7 h 72"/>
                <a:gd name="T24" fmla="*/ 6 w 96"/>
                <a:gd name="T25" fmla="*/ 7 h 72"/>
                <a:gd name="T26" fmla="*/ 5 w 96"/>
                <a:gd name="T27" fmla="*/ 7 h 72"/>
                <a:gd name="T28" fmla="*/ 2 w 96"/>
                <a:gd name="T29" fmla="*/ 7 h 72"/>
                <a:gd name="T30" fmla="*/ 2 w 96"/>
                <a:gd name="T31" fmla="*/ 7 h 72"/>
                <a:gd name="T32" fmla="*/ 2 w 96"/>
                <a:gd name="T33" fmla="*/ 7 h 72"/>
                <a:gd name="T34" fmla="*/ 1 w 96"/>
                <a:gd name="T35" fmla="*/ 7 h 72"/>
                <a:gd name="T36" fmla="*/ 1 w 96"/>
                <a:gd name="T37" fmla="*/ 7 h 72"/>
                <a:gd name="T38" fmla="*/ 1 w 96"/>
                <a:gd name="T39" fmla="*/ 6 h 72"/>
                <a:gd name="T40" fmla="*/ 1 w 96"/>
                <a:gd name="T41" fmla="*/ 6 h 72"/>
                <a:gd name="T42" fmla="*/ 0 w 96"/>
                <a:gd name="T43" fmla="*/ 6 h 72"/>
                <a:gd name="T44" fmla="*/ 0 w 96"/>
                <a:gd name="T45" fmla="*/ 5 h 72"/>
                <a:gd name="T46" fmla="*/ 1 w 96"/>
                <a:gd name="T47" fmla="*/ 5 h 72"/>
                <a:gd name="T48" fmla="*/ 1 w 96"/>
                <a:gd name="T49" fmla="*/ 5 h 72"/>
                <a:gd name="T50" fmla="*/ 1 w 96"/>
                <a:gd name="T51" fmla="*/ 5 h 72"/>
                <a:gd name="T52" fmla="*/ 1 w 96"/>
                <a:gd name="T53" fmla="*/ 5 h 72"/>
                <a:gd name="T54" fmla="*/ 1 w 96"/>
                <a:gd name="T55" fmla="*/ 5 h 72"/>
                <a:gd name="T56" fmla="*/ 1 w 96"/>
                <a:gd name="T57" fmla="*/ 3 h 72"/>
                <a:gd name="T58" fmla="*/ 1 w 96"/>
                <a:gd name="T59" fmla="*/ 3 h 72"/>
                <a:gd name="T60" fmla="*/ 1 w 96"/>
                <a:gd name="T61" fmla="*/ 2 h 72"/>
                <a:gd name="T62" fmla="*/ 2 w 96"/>
                <a:gd name="T63" fmla="*/ 2 h 72"/>
                <a:gd name="T64" fmla="*/ 1 w 96"/>
                <a:gd name="T65" fmla="*/ 1 h 72"/>
                <a:gd name="T66" fmla="*/ 2 w 96"/>
                <a:gd name="T67" fmla="*/ 1 h 72"/>
                <a:gd name="T68" fmla="*/ 2 w 96"/>
                <a:gd name="T69" fmla="*/ 1 h 72"/>
                <a:gd name="T70" fmla="*/ 2 w 96"/>
                <a:gd name="T71" fmla="*/ 0 h 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6" h="72">
                  <a:moveTo>
                    <a:pt x="24" y="0"/>
                  </a:moveTo>
                  <a:lnTo>
                    <a:pt x="24" y="6"/>
                  </a:lnTo>
                  <a:lnTo>
                    <a:pt x="30" y="6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30" y="66"/>
                  </a:lnTo>
                  <a:lnTo>
                    <a:pt x="30" y="72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87CF27">
                <a:alpha val="65881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7" name="Freeform 97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auto">
            <a:xfrm>
              <a:off x="4433" y="1047"/>
              <a:ext cx="518" cy="635"/>
            </a:xfrm>
            <a:custGeom>
              <a:avLst/>
              <a:gdLst>
                <a:gd name="T0" fmla="*/ 27 w 834"/>
                <a:gd name="T1" fmla="*/ 4 h 978"/>
                <a:gd name="T2" fmla="*/ 39 w 834"/>
                <a:gd name="T3" fmla="*/ 0 h 978"/>
                <a:gd name="T4" fmla="*/ 40 w 834"/>
                <a:gd name="T5" fmla="*/ 1 h 978"/>
                <a:gd name="T6" fmla="*/ 42 w 834"/>
                <a:gd name="T7" fmla="*/ 3 h 978"/>
                <a:gd name="T8" fmla="*/ 43 w 834"/>
                <a:gd name="T9" fmla="*/ 6 h 978"/>
                <a:gd name="T10" fmla="*/ 44 w 834"/>
                <a:gd name="T11" fmla="*/ 8 h 978"/>
                <a:gd name="T12" fmla="*/ 44 w 834"/>
                <a:gd name="T13" fmla="*/ 10 h 978"/>
                <a:gd name="T14" fmla="*/ 44 w 834"/>
                <a:gd name="T15" fmla="*/ 12 h 978"/>
                <a:gd name="T16" fmla="*/ 45 w 834"/>
                <a:gd name="T17" fmla="*/ 14 h 978"/>
                <a:gd name="T18" fmla="*/ 45 w 834"/>
                <a:gd name="T19" fmla="*/ 16 h 978"/>
                <a:gd name="T20" fmla="*/ 47 w 834"/>
                <a:gd name="T21" fmla="*/ 18 h 978"/>
                <a:gd name="T22" fmla="*/ 47 w 834"/>
                <a:gd name="T23" fmla="*/ 19 h 978"/>
                <a:gd name="T24" fmla="*/ 47 w 834"/>
                <a:gd name="T25" fmla="*/ 21 h 978"/>
                <a:gd name="T26" fmla="*/ 45 w 834"/>
                <a:gd name="T27" fmla="*/ 22 h 978"/>
                <a:gd name="T28" fmla="*/ 43 w 834"/>
                <a:gd name="T29" fmla="*/ 24 h 978"/>
                <a:gd name="T30" fmla="*/ 43 w 834"/>
                <a:gd name="T31" fmla="*/ 27 h 978"/>
                <a:gd name="T32" fmla="*/ 42 w 834"/>
                <a:gd name="T33" fmla="*/ 31 h 978"/>
                <a:gd name="T34" fmla="*/ 42 w 834"/>
                <a:gd name="T35" fmla="*/ 35 h 978"/>
                <a:gd name="T36" fmla="*/ 41 w 834"/>
                <a:gd name="T37" fmla="*/ 39 h 978"/>
                <a:gd name="T38" fmla="*/ 39 w 834"/>
                <a:gd name="T39" fmla="*/ 42 h 978"/>
                <a:gd name="T40" fmla="*/ 38 w 834"/>
                <a:gd name="T41" fmla="*/ 45 h 978"/>
                <a:gd name="T42" fmla="*/ 36 w 834"/>
                <a:gd name="T43" fmla="*/ 46 h 978"/>
                <a:gd name="T44" fmla="*/ 35 w 834"/>
                <a:gd name="T45" fmla="*/ 50 h 978"/>
                <a:gd name="T46" fmla="*/ 34 w 834"/>
                <a:gd name="T47" fmla="*/ 55 h 978"/>
                <a:gd name="T48" fmla="*/ 32 w 834"/>
                <a:gd name="T49" fmla="*/ 55 h 978"/>
                <a:gd name="T50" fmla="*/ 32 w 834"/>
                <a:gd name="T51" fmla="*/ 57 h 978"/>
                <a:gd name="T52" fmla="*/ 34 w 834"/>
                <a:gd name="T53" fmla="*/ 57 h 978"/>
                <a:gd name="T54" fmla="*/ 35 w 834"/>
                <a:gd name="T55" fmla="*/ 60 h 978"/>
                <a:gd name="T56" fmla="*/ 37 w 834"/>
                <a:gd name="T57" fmla="*/ 61 h 978"/>
                <a:gd name="T58" fmla="*/ 38 w 834"/>
                <a:gd name="T59" fmla="*/ 64 h 978"/>
                <a:gd name="T60" fmla="*/ 40 w 834"/>
                <a:gd name="T61" fmla="*/ 67 h 978"/>
                <a:gd name="T62" fmla="*/ 39 w 834"/>
                <a:gd name="T63" fmla="*/ 69 h 978"/>
                <a:gd name="T64" fmla="*/ 36 w 834"/>
                <a:gd name="T65" fmla="*/ 68 h 978"/>
                <a:gd name="T66" fmla="*/ 32 w 834"/>
                <a:gd name="T67" fmla="*/ 72 h 978"/>
                <a:gd name="T68" fmla="*/ 28 w 834"/>
                <a:gd name="T69" fmla="*/ 72 h 978"/>
                <a:gd name="T70" fmla="*/ 25 w 834"/>
                <a:gd name="T71" fmla="*/ 73 h 978"/>
                <a:gd name="T72" fmla="*/ 25 w 834"/>
                <a:gd name="T73" fmla="*/ 71 h 978"/>
                <a:gd name="T74" fmla="*/ 23 w 834"/>
                <a:gd name="T75" fmla="*/ 69 h 978"/>
                <a:gd name="T76" fmla="*/ 21 w 834"/>
                <a:gd name="T77" fmla="*/ 70 h 978"/>
                <a:gd name="T78" fmla="*/ 20 w 834"/>
                <a:gd name="T79" fmla="*/ 70 h 978"/>
                <a:gd name="T80" fmla="*/ 18 w 834"/>
                <a:gd name="T81" fmla="*/ 70 h 978"/>
                <a:gd name="T82" fmla="*/ 17 w 834"/>
                <a:gd name="T83" fmla="*/ 68 h 978"/>
                <a:gd name="T84" fmla="*/ 16 w 834"/>
                <a:gd name="T85" fmla="*/ 66 h 978"/>
                <a:gd name="T86" fmla="*/ 14 w 834"/>
                <a:gd name="T87" fmla="*/ 63 h 978"/>
                <a:gd name="T88" fmla="*/ 12 w 834"/>
                <a:gd name="T89" fmla="*/ 60 h 978"/>
                <a:gd name="T90" fmla="*/ 11 w 834"/>
                <a:gd name="T91" fmla="*/ 60 h 978"/>
                <a:gd name="T92" fmla="*/ 10 w 834"/>
                <a:gd name="T93" fmla="*/ 56 h 978"/>
                <a:gd name="T94" fmla="*/ 7 w 834"/>
                <a:gd name="T95" fmla="*/ 55 h 978"/>
                <a:gd name="T96" fmla="*/ 7 w 834"/>
                <a:gd name="T97" fmla="*/ 54 h 978"/>
                <a:gd name="T98" fmla="*/ 4 w 834"/>
                <a:gd name="T99" fmla="*/ 53 h 978"/>
                <a:gd name="T100" fmla="*/ 6 w 834"/>
                <a:gd name="T101" fmla="*/ 50 h 978"/>
                <a:gd name="T102" fmla="*/ 4 w 834"/>
                <a:gd name="T103" fmla="*/ 45 h 978"/>
                <a:gd name="T104" fmla="*/ 2 w 834"/>
                <a:gd name="T105" fmla="*/ 41 h 978"/>
                <a:gd name="T106" fmla="*/ 1 w 834"/>
                <a:gd name="T107" fmla="*/ 39 h 978"/>
                <a:gd name="T108" fmla="*/ 1 w 834"/>
                <a:gd name="T109" fmla="*/ 36 h 978"/>
                <a:gd name="T110" fmla="*/ 1 w 834"/>
                <a:gd name="T111" fmla="*/ 34 h 978"/>
                <a:gd name="T112" fmla="*/ 2 w 834"/>
                <a:gd name="T113" fmla="*/ 32 h 978"/>
                <a:gd name="T114" fmla="*/ 4 w 834"/>
                <a:gd name="T115" fmla="*/ 29 h 978"/>
                <a:gd name="T116" fmla="*/ 4 w 834"/>
                <a:gd name="T117" fmla="*/ 28 h 978"/>
                <a:gd name="T118" fmla="*/ 6 w 834"/>
                <a:gd name="T119" fmla="*/ 14 h 9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34" h="978">
                  <a:moveTo>
                    <a:pt x="108" y="180"/>
                  </a:moveTo>
                  <a:lnTo>
                    <a:pt x="108" y="156"/>
                  </a:lnTo>
                  <a:lnTo>
                    <a:pt x="162" y="156"/>
                  </a:lnTo>
                  <a:lnTo>
                    <a:pt x="162" y="54"/>
                  </a:lnTo>
                  <a:lnTo>
                    <a:pt x="168" y="54"/>
                  </a:lnTo>
                  <a:lnTo>
                    <a:pt x="234" y="54"/>
                  </a:lnTo>
                  <a:lnTo>
                    <a:pt x="474" y="54"/>
                  </a:lnTo>
                  <a:lnTo>
                    <a:pt x="474" y="48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504" y="54"/>
                  </a:lnTo>
                  <a:lnTo>
                    <a:pt x="510" y="54"/>
                  </a:lnTo>
                  <a:lnTo>
                    <a:pt x="564" y="54"/>
                  </a:lnTo>
                  <a:lnTo>
                    <a:pt x="582" y="72"/>
                  </a:lnTo>
                  <a:lnTo>
                    <a:pt x="606" y="66"/>
                  </a:lnTo>
                  <a:lnTo>
                    <a:pt x="612" y="48"/>
                  </a:lnTo>
                  <a:lnTo>
                    <a:pt x="642" y="42"/>
                  </a:lnTo>
                  <a:lnTo>
                    <a:pt x="654" y="12"/>
                  </a:lnTo>
                  <a:lnTo>
                    <a:pt x="666" y="18"/>
                  </a:lnTo>
                  <a:lnTo>
                    <a:pt x="690" y="0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702" y="18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14" y="24"/>
                  </a:lnTo>
                  <a:lnTo>
                    <a:pt x="720" y="24"/>
                  </a:lnTo>
                  <a:lnTo>
                    <a:pt x="720" y="30"/>
                  </a:lnTo>
                  <a:lnTo>
                    <a:pt x="726" y="36"/>
                  </a:lnTo>
                  <a:lnTo>
                    <a:pt x="732" y="42"/>
                  </a:lnTo>
                  <a:lnTo>
                    <a:pt x="738" y="42"/>
                  </a:lnTo>
                  <a:lnTo>
                    <a:pt x="738" y="48"/>
                  </a:lnTo>
                  <a:lnTo>
                    <a:pt x="744" y="48"/>
                  </a:lnTo>
                  <a:lnTo>
                    <a:pt x="744" y="54"/>
                  </a:lnTo>
                  <a:lnTo>
                    <a:pt x="750" y="54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0" y="72"/>
                  </a:lnTo>
                  <a:lnTo>
                    <a:pt x="750" y="78"/>
                  </a:lnTo>
                  <a:lnTo>
                    <a:pt x="756" y="78"/>
                  </a:lnTo>
                  <a:lnTo>
                    <a:pt x="756" y="84"/>
                  </a:lnTo>
                  <a:lnTo>
                    <a:pt x="750" y="84"/>
                  </a:lnTo>
                  <a:lnTo>
                    <a:pt x="756" y="84"/>
                  </a:lnTo>
                  <a:lnTo>
                    <a:pt x="756" y="90"/>
                  </a:lnTo>
                  <a:lnTo>
                    <a:pt x="762" y="90"/>
                  </a:lnTo>
                  <a:lnTo>
                    <a:pt x="762" y="96"/>
                  </a:lnTo>
                  <a:lnTo>
                    <a:pt x="768" y="96"/>
                  </a:lnTo>
                  <a:lnTo>
                    <a:pt x="768" y="102"/>
                  </a:lnTo>
                  <a:lnTo>
                    <a:pt x="774" y="102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68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108"/>
                  </a:lnTo>
                  <a:lnTo>
                    <a:pt x="762" y="114"/>
                  </a:lnTo>
                  <a:lnTo>
                    <a:pt x="762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44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50"/>
                  </a:lnTo>
                  <a:lnTo>
                    <a:pt x="762" y="156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74" y="186"/>
                  </a:lnTo>
                  <a:lnTo>
                    <a:pt x="768" y="192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74" y="204"/>
                  </a:lnTo>
                  <a:lnTo>
                    <a:pt x="774" y="210"/>
                  </a:lnTo>
                  <a:lnTo>
                    <a:pt x="780" y="216"/>
                  </a:lnTo>
                  <a:lnTo>
                    <a:pt x="774" y="210"/>
                  </a:lnTo>
                  <a:lnTo>
                    <a:pt x="780" y="210"/>
                  </a:lnTo>
                  <a:lnTo>
                    <a:pt x="774" y="210"/>
                  </a:lnTo>
                  <a:lnTo>
                    <a:pt x="774" y="216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22"/>
                  </a:lnTo>
                  <a:lnTo>
                    <a:pt x="798" y="222"/>
                  </a:lnTo>
                  <a:lnTo>
                    <a:pt x="798" y="228"/>
                  </a:lnTo>
                  <a:lnTo>
                    <a:pt x="804" y="228"/>
                  </a:lnTo>
                  <a:lnTo>
                    <a:pt x="804" y="234"/>
                  </a:lnTo>
                  <a:lnTo>
                    <a:pt x="810" y="234"/>
                  </a:lnTo>
                  <a:lnTo>
                    <a:pt x="810" y="240"/>
                  </a:lnTo>
                  <a:lnTo>
                    <a:pt x="810" y="246"/>
                  </a:lnTo>
                  <a:lnTo>
                    <a:pt x="816" y="246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34" y="258"/>
                  </a:lnTo>
                  <a:lnTo>
                    <a:pt x="828" y="258"/>
                  </a:lnTo>
                  <a:lnTo>
                    <a:pt x="822" y="270"/>
                  </a:lnTo>
                  <a:lnTo>
                    <a:pt x="822" y="276"/>
                  </a:lnTo>
                  <a:lnTo>
                    <a:pt x="816" y="276"/>
                  </a:lnTo>
                  <a:lnTo>
                    <a:pt x="810" y="276"/>
                  </a:lnTo>
                  <a:lnTo>
                    <a:pt x="810" y="282"/>
                  </a:lnTo>
                  <a:lnTo>
                    <a:pt x="810" y="276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2"/>
                  </a:lnTo>
                  <a:lnTo>
                    <a:pt x="792" y="282"/>
                  </a:lnTo>
                  <a:lnTo>
                    <a:pt x="792" y="288"/>
                  </a:lnTo>
                  <a:lnTo>
                    <a:pt x="786" y="288"/>
                  </a:lnTo>
                  <a:lnTo>
                    <a:pt x="780" y="288"/>
                  </a:lnTo>
                  <a:lnTo>
                    <a:pt x="780" y="294"/>
                  </a:lnTo>
                  <a:lnTo>
                    <a:pt x="780" y="300"/>
                  </a:lnTo>
                  <a:lnTo>
                    <a:pt x="774" y="300"/>
                  </a:lnTo>
                  <a:lnTo>
                    <a:pt x="768" y="300"/>
                  </a:lnTo>
                  <a:lnTo>
                    <a:pt x="762" y="300"/>
                  </a:lnTo>
                  <a:lnTo>
                    <a:pt x="756" y="300"/>
                  </a:lnTo>
                  <a:lnTo>
                    <a:pt x="756" y="306"/>
                  </a:lnTo>
                  <a:lnTo>
                    <a:pt x="756" y="312"/>
                  </a:lnTo>
                  <a:lnTo>
                    <a:pt x="756" y="318"/>
                  </a:lnTo>
                  <a:lnTo>
                    <a:pt x="750" y="318"/>
                  </a:lnTo>
                  <a:lnTo>
                    <a:pt x="750" y="324"/>
                  </a:lnTo>
                  <a:lnTo>
                    <a:pt x="750" y="330"/>
                  </a:lnTo>
                  <a:lnTo>
                    <a:pt x="756" y="330"/>
                  </a:lnTo>
                  <a:lnTo>
                    <a:pt x="756" y="336"/>
                  </a:lnTo>
                  <a:lnTo>
                    <a:pt x="750" y="336"/>
                  </a:lnTo>
                  <a:lnTo>
                    <a:pt x="750" y="342"/>
                  </a:lnTo>
                  <a:lnTo>
                    <a:pt x="756" y="342"/>
                  </a:lnTo>
                  <a:lnTo>
                    <a:pt x="750" y="342"/>
                  </a:lnTo>
                  <a:lnTo>
                    <a:pt x="750" y="348"/>
                  </a:lnTo>
                  <a:lnTo>
                    <a:pt x="744" y="354"/>
                  </a:lnTo>
                  <a:lnTo>
                    <a:pt x="744" y="360"/>
                  </a:lnTo>
                  <a:lnTo>
                    <a:pt x="744" y="366"/>
                  </a:lnTo>
                  <a:lnTo>
                    <a:pt x="738" y="366"/>
                  </a:lnTo>
                  <a:lnTo>
                    <a:pt x="738" y="378"/>
                  </a:lnTo>
                  <a:lnTo>
                    <a:pt x="738" y="384"/>
                  </a:lnTo>
                  <a:lnTo>
                    <a:pt x="732" y="390"/>
                  </a:lnTo>
                  <a:lnTo>
                    <a:pt x="732" y="396"/>
                  </a:lnTo>
                  <a:lnTo>
                    <a:pt x="726" y="396"/>
                  </a:lnTo>
                  <a:lnTo>
                    <a:pt x="726" y="402"/>
                  </a:lnTo>
                  <a:lnTo>
                    <a:pt x="732" y="408"/>
                  </a:lnTo>
                  <a:lnTo>
                    <a:pt x="732" y="414"/>
                  </a:lnTo>
                  <a:lnTo>
                    <a:pt x="732" y="426"/>
                  </a:lnTo>
                  <a:lnTo>
                    <a:pt x="732" y="432"/>
                  </a:lnTo>
                  <a:lnTo>
                    <a:pt x="732" y="438"/>
                  </a:lnTo>
                  <a:lnTo>
                    <a:pt x="732" y="444"/>
                  </a:lnTo>
                  <a:lnTo>
                    <a:pt x="732" y="450"/>
                  </a:lnTo>
                  <a:lnTo>
                    <a:pt x="732" y="456"/>
                  </a:lnTo>
                  <a:lnTo>
                    <a:pt x="726" y="456"/>
                  </a:lnTo>
                  <a:lnTo>
                    <a:pt x="732" y="456"/>
                  </a:lnTo>
                  <a:lnTo>
                    <a:pt x="732" y="462"/>
                  </a:lnTo>
                  <a:lnTo>
                    <a:pt x="726" y="468"/>
                  </a:lnTo>
                  <a:lnTo>
                    <a:pt x="726" y="474"/>
                  </a:lnTo>
                  <a:lnTo>
                    <a:pt x="726" y="480"/>
                  </a:lnTo>
                  <a:lnTo>
                    <a:pt x="720" y="480"/>
                  </a:lnTo>
                  <a:lnTo>
                    <a:pt x="720" y="486"/>
                  </a:lnTo>
                  <a:lnTo>
                    <a:pt x="720" y="492"/>
                  </a:lnTo>
                  <a:lnTo>
                    <a:pt x="714" y="504"/>
                  </a:lnTo>
                  <a:lnTo>
                    <a:pt x="714" y="510"/>
                  </a:lnTo>
                  <a:lnTo>
                    <a:pt x="714" y="516"/>
                  </a:lnTo>
                  <a:lnTo>
                    <a:pt x="714" y="522"/>
                  </a:lnTo>
                  <a:lnTo>
                    <a:pt x="714" y="516"/>
                  </a:lnTo>
                  <a:lnTo>
                    <a:pt x="708" y="516"/>
                  </a:lnTo>
                  <a:lnTo>
                    <a:pt x="702" y="516"/>
                  </a:lnTo>
                  <a:lnTo>
                    <a:pt x="696" y="522"/>
                  </a:lnTo>
                  <a:lnTo>
                    <a:pt x="690" y="522"/>
                  </a:lnTo>
                  <a:lnTo>
                    <a:pt x="684" y="528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72" y="546"/>
                  </a:lnTo>
                  <a:lnTo>
                    <a:pt x="672" y="552"/>
                  </a:lnTo>
                  <a:lnTo>
                    <a:pt x="672" y="558"/>
                  </a:lnTo>
                  <a:lnTo>
                    <a:pt x="666" y="558"/>
                  </a:lnTo>
                  <a:lnTo>
                    <a:pt x="660" y="564"/>
                  </a:lnTo>
                  <a:lnTo>
                    <a:pt x="660" y="570"/>
                  </a:lnTo>
                  <a:lnTo>
                    <a:pt x="660" y="576"/>
                  </a:lnTo>
                  <a:lnTo>
                    <a:pt x="660" y="582"/>
                  </a:lnTo>
                  <a:lnTo>
                    <a:pt x="654" y="588"/>
                  </a:lnTo>
                  <a:lnTo>
                    <a:pt x="654" y="594"/>
                  </a:lnTo>
                  <a:lnTo>
                    <a:pt x="654" y="600"/>
                  </a:lnTo>
                  <a:lnTo>
                    <a:pt x="654" y="606"/>
                  </a:lnTo>
                  <a:lnTo>
                    <a:pt x="654" y="612"/>
                  </a:lnTo>
                  <a:lnTo>
                    <a:pt x="648" y="612"/>
                  </a:lnTo>
                  <a:lnTo>
                    <a:pt x="648" y="618"/>
                  </a:lnTo>
                  <a:lnTo>
                    <a:pt x="648" y="612"/>
                  </a:lnTo>
                  <a:lnTo>
                    <a:pt x="642" y="612"/>
                  </a:lnTo>
                  <a:lnTo>
                    <a:pt x="636" y="606"/>
                  </a:lnTo>
                  <a:lnTo>
                    <a:pt x="636" y="612"/>
                  </a:lnTo>
                  <a:lnTo>
                    <a:pt x="630" y="612"/>
                  </a:lnTo>
                  <a:lnTo>
                    <a:pt x="630" y="618"/>
                  </a:lnTo>
                  <a:lnTo>
                    <a:pt x="624" y="618"/>
                  </a:lnTo>
                  <a:lnTo>
                    <a:pt x="624" y="624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24" y="636"/>
                  </a:lnTo>
                  <a:lnTo>
                    <a:pt x="624" y="642"/>
                  </a:lnTo>
                  <a:lnTo>
                    <a:pt x="624" y="648"/>
                  </a:lnTo>
                  <a:lnTo>
                    <a:pt x="618" y="648"/>
                  </a:lnTo>
                  <a:lnTo>
                    <a:pt x="618" y="654"/>
                  </a:lnTo>
                  <a:lnTo>
                    <a:pt x="618" y="660"/>
                  </a:lnTo>
                  <a:lnTo>
                    <a:pt x="612" y="666"/>
                  </a:lnTo>
                  <a:lnTo>
                    <a:pt x="612" y="672"/>
                  </a:lnTo>
                  <a:lnTo>
                    <a:pt x="612" y="678"/>
                  </a:lnTo>
                  <a:lnTo>
                    <a:pt x="612" y="690"/>
                  </a:lnTo>
                  <a:lnTo>
                    <a:pt x="612" y="702"/>
                  </a:lnTo>
                  <a:lnTo>
                    <a:pt x="612" y="714"/>
                  </a:lnTo>
                  <a:lnTo>
                    <a:pt x="612" y="720"/>
                  </a:lnTo>
                  <a:lnTo>
                    <a:pt x="612" y="726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600" y="732"/>
                  </a:lnTo>
                  <a:lnTo>
                    <a:pt x="594" y="732"/>
                  </a:lnTo>
                  <a:lnTo>
                    <a:pt x="588" y="732"/>
                  </a:lnTo>
                  <a:lnTo>
                    <a:pt x="588" y="726"/>
                  </a:lnTo>
                  <a:lnTo>
                    <a:pt x="588" y="732"/>
                  </a:lnTo>
                  <a:lnTo>
                    <a:pt x="582" y="726"/>
                  </a:lnTo>
                  <a:lnTo>
                    <a:pt x="582" y="732"/>
                  </a:lnTo>
                  <a:lnTo>
                    <a:pt x="576" y="732"/>
                  </a:lnTo>
                  <a:lnTo>
                    <a:pt x="570" y="732"/>
                  </a:lnTo>
                  <a:lnTo>
                    <a:pt x="564" y="732"/>
                  </a:lnTo>
                  <a:lnTo>
                    <a:pt x="570" y="732"/>
                  </a:lnTo>
                  <a:lnTo>
                    <a:pt x="570" y="738"/>
                  </a:lnTo>
                  <a:lnTo>
                    <a:pt x="564" y="738"/>
                  </a:lnTo>
                  <a:lnTo>
                    <a:pt x="564" y="744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58" y="756"/>
                  </a:lnTo>
                  <a:lnTo>
                    <a:pt x="558" y="762"/>
                  </a:lnTo>
                  <a:lnTo>
                    <a:pt x="564" y="762"/>
                  </a:lnTo>
                  <a:lnTo>
                    <a:pt x="570" y="762"/>
                  </a:lnTo>
                  <a:lnTo>
                    <a:pt x="570" y="768"/>
                  </a:lnTo>
                  <a:lnTo>
                    <a:pt x="576" y="768"/>
                  </a:lnTo>
                  <a:lnTo>
                    <a:pt x="576" y="762"/>
                  </a:lnTo>
                  <a:lnTo>
                    <a:pt x="582" y="768"/>
                  </a:lnTo>
                  <a:lnTo>
                    <a:pt x="582" y="762"/>
                  </a:lnTo>
                  <a:lnTo>
                    <a:pt x="582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600" y="774"/>
                  </a:lnTo>
                  <a:lnTo>
                    <a:pt x="606" y="774"/>
                  </a:lnTo>
                  <a:lnTo>
                    <a:pt x="606" y="780"/>
                  </a:lnTo>
                  <a:lnTo>
                    <a:pt x="606" y="786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8" y="798"/>
                  </a:lnTo>
                  <a:lnTo>
                    <a:pt x="618" y="804"/>
                  </a:lnTo>
                  <a:lnTo>
                    <a:pt x="624" y="804"/>
                  </a:lnTo>
                  <a:lnTo>
                    <a:pt x="630" y="804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6"/>
                  </a:lnTo>
                  <a:lnTo>
                    <a:pt x="636" y="816"/>
                  </a:lnTo>
                  <a:lnTo>
                    <a:pt x="642" y="816"/>
                  </a:lnTo>
                  <a:lnTo>
                    <a:pt x="642" y="822"/>
                  </a:lnTo>
                  <a:lnTo>
                    <a:pt x="648" y="822"/>
                  </a:lnTo>
                  <a:lnTo>
                    <a:pt x="654" y="822"/>
                  </a:lnTo>
                  <a:lnTo>
                    <a:pt x="654" y="828"/>
                  </a:lnTo>
                  <a:lnTo>
                    <a:pt x="660" y="828"/>
                  </a:lnTo>
                  <a:lnTo>
                    <a:pt x="654" y="828"/>
                  </a:lnTo>
                  <a:lnTo>
                    <a:pt x="654" y="834"/>
                  </a:lnTo>
                  <a:lnTo>
                    <a:pt x="654" y="840"/>
                  </a:lnTo>
                  <a:lnTo>
                    <a:pt x="654" y="846"/>
                  </a:lnTo>
                  <a:lnTo>
                    <a:pt x="654" y="852"/>
                  </a:lnTo>
                  <a:lnTo>
                    <a:pt x="654" y="858"/>
                  </a:lnTo>
                  <a:lnTo>
                    <a:pt x="660" y="864"/>
                  </a:lnTo>
                  <a:lnTo>
                    <a:pt x="660" y="870"/>
                  </a:lnTo>
                  <a:lnTo>
                    <a:pt x="672" y="876"/>
                  </a:lnTo>
                  <a:lnTo>
                    <a:pt x="672" y="882"/>
                  </a:lnTo>
                  <a:lnTo>
                    <a:pt x="678" y="882"/>
                  </a:lnTo>
                  <a:lnTo>
                    <a:pt x="684" y="882"/>
                  </a:lnTo>
                  <a:lnTo>
                    <a:pt x="690" y="882"/>
                  </a:lnTo>
                  <a:lnTo>
                    <a:pt x="696" y="882"/>
                  </a:lnTo>
                  <a:lnTo>
                    <a:pt x="696" y="888"/>
                  </a:lnTo>
                  <a:lnTo>
                    <a:pt x="702" y="888"/>
                  </a:lnTo>
                  <a:lnTo>
                    <a:pt x="696" y="888"/>
                  </a:lnTo>
                  <a:lnTo>
                    <a:pt x="696" y="894"/>
                  </a:lnTo>
                  <a:lnTo>
                    <a:pt x="702" y="894"/>
                  </a:lnTo>
                  <a:lnTo>
                    <a:pt x="696" y="894"/>
                  </a:lnTo>
                  <a:lnTo>
                    <a:pt x="696" y="912"/>
                  </a:lnTo>
                  <a:lnTo>
                    <a:pt x="702" y="918"/>
                  </a:lnTo>
                  <a:lnTo>
                    <a:pt x="690" y="918"/>
                  </a:lnTo>
                  <a:lnTo>
                    <a:pt x="684" y="918"/>
                  </a:lnTo>
                  <a:lnTo>
                    <a:pt x="678" y="918"/>
                  </a:lnTo>
                  <a:lnTo>
                    <a:pt x="678" y="912"/>
                  </a:lnTo>
                  <a:lnTo>
                    <a:pt x="678" y="906"/>
                  </a:lnTo>
                  <a:lnTo>
                    <a:pt x="672" y="906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60" y="900"/>
                  </a:lnTo>
                  <a:lnTo>
                    <a:pt x="654" y="906"/>
                  </a:lnTo>
                  <a:lnTo>
                    <a:pt x="648" y="906"/>
                  </a:lnTo>
                  <a:lnTo>
                    <a:pt x="642" y="912"/>
                  </a:lnTo>
                  <a:lnTo>
                    <a:pt x="636" y="912"/>
                  </a:lnTo>
                  <a:lnTo>
                    <a:pt x="630" y="912"/>
                  </a:lnTo>
                  <a:lnTo>
                    <a:pt x="624" y="918"/>
                  </a:lnTo>
                  <a:lnTo>
                    <a:pt x="618" y="924"/>
                  </a:lnTo>
                  <a:lnTo>
                    <a:pt x="606" y="936"/>
                  </a:lnTo>
                  <a:lnTo>
                    <a:pt x="606" y="942"/>
                  </a:lnTo>
                  <a:lnTo>
                    <a:pt x="594" y="948"/>
                  </a:lnTo>
                  <a:lnTo>
                    <a:pt x="582" y="966"/>
                  </a:lnTo>
                  <a:lnTo>
                    <a:pt x="564" y="960"/>
                  </a:lnTo>
                  <a:lnTo>
                    <a:pt x="558" y="954"/>
                  </a:lnTo>
                  <a:lnTo>
                    <a:pt x="552" y="960"/>
                  </a:lnTo>
                  <a:lnTo>
                    <a:pt x="540" y="960"/>
                  </a:lnTo>
                  <a:lnTo>
                    <a:pt x="528" y="966"/>
                  </a:lnTo>
                  <a:lnTo>
                    <a:pt x="516" y="972"/>
                  </a:lnTo>
                  <a:lnTo>
                    <a:pt x="510" y="972"/>
                  </a:lnTo>
                  <a:lnTo>
                    <a:pt x="504" y="972"/>
                  </a:lnTo>
                  <a:lnTo>
                    <a:pt x="504" y="966"/>
                  </a:lnTo>
                  <a:lnTo>
                    <a:pt x="504" y="960"/>
                  </a:lnTo>
                  <a:lnTo>
                    <a:pt x="498" y="960"/>
                  </a:lnTo>
                  <a:lnTo>
                    <a:pt x="492" y="960"/>
                  </a:lnTo>
                  <a:lnTo>
                    <a:pt x="492" y="966"/>
                  </a:lnTo>
                  <a:lnTo>
                    <a:pt x="486" y="966"/>
                  </a:lnTo>
                  <a:lnTo>
                    <a:pt x="474" y="960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62" y="966"/>
                  </a:lnTo>
                  <a:lnTo>
                    <a:pt x="456" y="966"/>
                  </a:lnTo>
                  <a:lnTo>
                    <a:pt x="456" y="972"/>
                  </a:lnTo>
                  <a:lnTo>
                    <a:pt x="450" y="972"/>
                  </a:lnTo>
                  <a:lnTo>
                    <a:pt x="450" y="978"/>
                  </a:lnTo>
                  <a:lnTo>
                    <a:pt x="450" y="972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38" y="966"/>
                  </a:lnTo>
                  <a:lnTo>
                    <a:pt x="438" y="972"/>
                  </a:lnTo>
                  <a:lnTo>
                    <a:pt x="438" y="966"/>
                  </a:lnTo>
                  <a:lnTo>
                    <a:pt x="438" y="960"/>
                  </a:lnTo>
                  <a:lnTo>
                    <a:pt x="432" y="960"/>
                  </a:lnTo>
                  <a:lnTo>
                    <a:pt x="432" y="954"/>
                  </a:lnTo>
                  <a:lnTo>
                    <a:pt x="426" y="954"/>
                  </a:lnTo>
                  <a:lnTo>
                    <a:pt x="420" y="954"/>
                  </a:lnTo>
                  <a:lnTo>
                    <a:pt x="420" y="948"/>
                  </a:lnTo>
                  <a:lnTo>
                    <a:pt x="414" y="948"/>
                  </a:lnTo>
                  <a:lnTo>
                    <a:pt x="408" y="942"/>
                  </a:lnTo>
                  <a:lnTo>
                    <a:pt x="408" y="936"/>
                  </a:lnTo>
                  <a:lnTo>
                    <a:pt x="402" y="936"/>
                  </a:lnTo>
                  <a:lnTo>
                    <a:pt x="396" y="930"/>
                  </a:lnTo>
                  <a:lnTo>
                    <a:pt x="396" y="924"/>
                  </a:lnTo>
                  <a:lnTo>
                    <a:pt x="402" y="924"/>
                  </a:lnTo>
                  <a:lnTo>
                    <a:pt x="396" y="924"/>
                  </a:lnTo>
                  <a:lnTo>
                    <a:pt x="396" y="918"/>
                  </a:lnTo>
                  <a:lnTo>
                    <a:pt x="390" y="918"/>
                  </a:lnTo>
                  <a:lnTo>
                    <a:pt x="384" y="918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78" y="930"/>
                  </a:lnTo>
                  <a:lnTo>
                    <a:pt x="372" y="930"/>
                  </a:lnTo>
                  <a:lnTo>
                    <a:pt x="372" y="936"/>
                  </a:lnTo>
                  <a:lnTo>
                    <a:pt x="366" y="936"/>
                  </a:lnTo>
                  <a:lnTo>
                    <a:pt x="366" y="930"/>
                  </a:lnTo>
                  <a:lnTo>
                    <a:pt x="360" y="930"/>
                  </a:lnTo>
                  <a:lnTo>
                    <a:pt x="360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42" y="924"/>
                  </a:lnTo>
                  <a:lnTo>
                    <a:pt x="342" y="930"/>
                  </a:lnTo>
                  <a:lnTo>
                    <a:pt x="336" y="930"/>
                  </a:lnTo>
                  <a:lnTo>
                    <a:pt x="336" y="936"/>
                  </a:lnTo>
                  <a:lnTo>
                    <a:pt x="330" y="936"/>
                  </a:lnTo>
                  <a:lnTo>
                    <a:pt x="324" y="936"/>
                  </a:lnTo>
                  <a:lnTo>
                    <a:pt x="318" y="936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2" y="924"/>
                  </a:lnTo>
                  <a:lnTo>
                    <a:pt x="306" y="924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12"/>
                  </a:lnTo>
                  <a:lnTo>
                    <a:pt x="294" y="912"/>
                  </a:lnTo>
                  <a:lnTo>
                    <a:pt x="294" y="906"/>
                  </a:lnTo>
                  <a:lnTo>
                    <a:pt x="288" y="906"/>
                  </a:lnTo>
                  <a:lnTo>
                    <a:pt x="282" y="900"/>
                  </a:lnTo>
                  <a:lnTo>
                    <a:pt x="282" y="894"/>
                  </a:lnTo>
                  <a:lnTo>
                    <a:pt x="276" y="894"/>
                  </a:lnTo>
                  <a:lnTo>
                    <a:pt x="276" y="888"/>
                  </a:lnTo>
                  <a:lnTo>
                    <a:pt x="270" y="888"/>
                  </a:lnTo>
                  <a:lnTo>
                    <a:pt x="270" y="882"/>
                  </a:lnTo>
                  <a:lnTo>
                    <a:pt x="270" y="876"/>
                  </a:lnTo>
                  <a:lnTo>
                    <a:pt x="270" y="870"/>
                  </a:lnTo>
                  <a:lnTo>
                    <a:pt x="270" y="864"/>
                  </a:lnTo>
                  <a:lnTo>
                    <a:pt x="264" y="864"/>
                  </a:lnTo>
                  <a:lnTo>
                    <a:pt x="264" y="858"/>
                  </a:lnTo>
                  <a:lnTo>
                    <a:pt x="258" y="858"/>
                  </a:lnTo>
                  <a:lnTo>
                    <a:pt x="252" y="858"/>
                  </a:lnTo>
                  <a:lnTo>
                    <a:pt x="252" y="852"/>
                  </a:lnTo>
                  <a:lnTo>
                    <a:pt x="246" y="852"/>
                  </a:lnTo>
                  <a:lnTo>
                    <a:pt x="240" y="852"/>
                  </a:lnTo>
                  <a:lnTo>
                    <a:pt x="234" y="852"/>
                  </a:lnTo>
                  <a:lnTo>
                    <a:pt x="234" y="846"/>
                  </a:lnTo>
                  <a:lnTo>
                    <a:pt x="234" y="840"/>
                  </a:lnTo>
                  <a:lnTo>
                    <a:pt x="234" y="834"/>
                  </a:lnTo>
                  <a:lnTo>
                    <a:pt x="228" y="834"/>
                  </a:lnTo>
                  <a:lnTo>
                    <a:pt x="222" y="834"/>
                  </a:lnTo>
                  <a:lnTo>
                    <a:pt x="222" y="828"/>
                  </a:lnTo>
                  <a:lnTo>
                    <a:pt x="228" y="828"/>
                  </a:lnTo>
                  <a:lnTo>
                    <a:pt x="228" y="822"/>
                  </a:lnTo>
                  <a:lnTo>
                    <a:pt x="228" y="816"/>
                  </a:lnTo>
                  <a:lnTo>
                    <a:pt x="222" y="816"/>
                  </a:lnTo>
                  <a:lnTo>
                    <a:pt x="216" y="810"/>
                  </a:lnTo>
                  <a:lnTo>
                    <a:pt x="216" y="804"/>
                  </a:lnTo>
                  <a:lnTo>
                    <a:pt x="210" y="804"/>
                  </a:lnTo>
                  <a:lnTo>
                    <a:pt x="210" y="798"/>
                  </a:lnTo>
                  <a:lnTo>
                    <a:pt x="204" y="798"/>
                  </a:lnTo>
                  <a:lnTo>
                    <a:pt x="198" y="798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0"/>
                  </a:lnTo>
                  <a:lnTo>
                    <a:pt x="168" y="780"/>
                  </a:lnTo>
                  <a:lnTo>
                    <a:pt x="168" y="774"/>
                  </a:lnTo>
                  <a:lnTo>
                    <a:pt x="174" y="774"/>
                  </a:lnTo>
                  <a:lnTo>
                    <a:pt x="174" y="768"/>
                  </a:lnTo>
                  <a:lnTo>
                    <a:pt x="174" y="762"/>
                  </a:lnTo>
                  <a:lnTo>
                    <a:pt x="168" y="762"/>
                  </a:lnTo>
                  <a:lnTo>
                    <a:pt x="168" y="756"/>
                  </a:lnTo>
                  <a:lnTo>
                    <a:pt x="162" y="756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44"/>
                  </a:lnTo>
                  <a:lnTo>
                    <a:pt x="144" y="744"/>
                  </a:lnTo>
                  <a:lnTo>
                    <a:pt x="144" y="738"/>
                  </a:lnTo>
                  <a:lnTo>
                    <a:pt x="138" y="738"/>
                  </a:lnTo>
                  <a:lnTo>
                    <a:pt x="138" y="744"/>
                  </a:lnTo>
                  <a:lnTo>
                    <a:pt x="138" y="738"/>
                  </a:lnTo>
                  <a:lnTo>
                    <a:pt x="132" y="738"/>
                  </a:lnTo>
                  <a:lnTo>
                    <a:pt x="126" y="738"/>
                  </a:lnTo>
                  <a:lnTo>
                    <a:pt x="120" y="738"/>
                  </a:lnTo>
                  <a:lnTo>
                    <a:pt x="120" y="732"/>
                  </a:lnTo>
                  <a:lnTo>
                    <a:pt x="120" y="726"/>
                  </a:lnTo>
                  <a:lnTo>
                    <a:pt x="126" y="720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14" y="720"/>
                  </a:lnTo>
                  <a:lnTo>
                    <a:pt x="114" y="714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84" y="708"/>
                  </a:lnTo>
                  <a:lnTo>
                    <a:pt x="90" y="708"/>
                  </a:lnTo>
                  <a:lnTo>
                    <a:pt x="90" y="702"/>
                  </a:lnTo>
                  <a:lnTo>
                    <a:pt x="84" y="702"/>
                  </a:lnTo>
                  <a:lnTo>
                    <a:pt x="84" y="696"/>
                  </a:lnTo>
                  <a:lnTo>
                    <a:pt x="90" y="696"/>
                  </a:lnTo>
                  <a:lnTo>
                    <a:pt x="90" y="690"/>
                  </a:lnTo>
                  <a:lnTo>
                    <a:pt x="90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96" y="660"/>
                  </a:lnTo>
                  <a:lnTo>
                    <a:pt x="78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54" y="612"/>
                  </a:lnTo>
                  <a:lnTo>
                    <a:pt x="54" y="606"/>
                  </a:lnTo>
                  <a:lnTo>
                    <a:pt x="60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82"/>
                  </a:lnTo>
                  <a:lnTo>
                    <a:pt x="48" y="582"/>
                  </a:lnTo>
                  <a:lnTo>
                    <a:pt x="42" y="576"/>
                  </a:lnTo>
                  <a:lnTo>
                    <a:pt x="36" y="570"/>
                  </a:lnTo>
                  <a:lnTo>
                    <a:pt x="42" y="552"/>
                  </a:lnTo>
                  <a:lnTo>
                    <a:pt x="36" y="552"/>
                  </a:lnTo>
                  <a:lnTo>
                    <a:pt x="36" y="546"/>
                  </a:lnTo>
                  <a:lnTo>
                    <a:pt x="36" y="540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30" y="522"/>
                  </a:lnTo>
                  <a:lnTo>
                    <a:pt x="24" y="516"/>
                  </a:lnTo>
                  <a:lnTo>
                    <a:pt x="18" y="516"/>
                  </a:lnTo>
                  <a:lnTo>
                    <a:pt x="18" y="522"/>
                  </a:lnTo>
                  <a:lnTo>
                    <a:pt x="12" y="522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62"/>
                  </a:lnTo>
                  <a:lnTo>
                    <a:pt x="18" y="456"/>
                  </a:lnTo>
                  <a:lnTo>
                    <a:pt x="24" y="456"/>
                  </a:lnTo>
                  <a:lnTo>
                    <a:pt x="30" y="450"/>
                  </a:lnTo>
                  <a:lnTo>
                    <a:pt x="36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0" y="438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8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8" y="408"/>
                  </a:lnTo>
                  <a:lnTo>
                    <a:pt x="48" y="402"/>
                  </a:lnTo>
                  <a:lnTo>
                    <a:pt x="54" y="402"/>
                  </a:lnTo>
                  <a:lnTo>
                    <a:pt x="60" y="396"/>
                  </a:lnTo>
                  <a:lnTo>
                    <a:pt x="54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54" y="384"/>
                  </a:lnTo>
                  <a:lnTo>
                    <a:pt x="54" y="378"/>
                  </a:lnTo>
                  <a:lnTo>
                    <a:pt x="60" y="378"/>
                  </a:lnTo>
                  <a:lnTo>
                    <a:pt x="60" y="372"/>
                  </a:lnTo>
                  <a:lnTo>
                    <a:pt x="66" y="372"/>
                  </a:lnTo>
                  <a:lnTo>
                    <a:pt x="66" y="366"/>
                  </a:lnTo>
                  <a:lnTo>
                    <a:pt x="66" y="372"/>
                  </a:lnTo>
                  <a:lnTo>
                    <a:pt x="72" y="372"/>
                  </a:lnTo>
                  <a:lnTo>
                    <a:pt x="72" y="366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102" y="366"/>
                  </a:lnTo>
                  <a:lnTo>
                    <a:pt x="108" y="372"/>
                  </a:lnTo>
                  <a:lnTo>
                    <a:pt x="108" y="18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8" name="Freeform 98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auto">
            <a:xfrm>
              <a:off x="4524" y="768"/>
              <a:ext cx="338" cy="325"/>
            </a:xfrm>
            <a:custGeom>
              <a:avLst/>
              <a:gdLst>
                <a:gd name="T0" fmla="*/ 4 w 552"/>
                <a:gd name="T1" fmla="*/ 1 h 498"/>
                <a:gd name="T2" fmla="*/ 6 w 552"/>
                <a:gd name="T3" fmla="*/ 1 h 498"/>
                <a:gd name="T4" fmla="*/ 7 w 552"/>
                <a:gd name="T5" fmla="*/ 2 h 498"/>
                <a:gd name="T6" fmla="*/ 9 w 552"/>
                <a:gd name="T7" fmla="*/ 2 h 498"/>
                <a:gd name="T8" fmla="*/ 11 w 552"/>
                <a:gd name="T9" fmla="*/ 3 h 498"/>
                <a:gd name="T10" fmla="*/ 13 w 552"/>
                <a:gd name="T11" fmla="*/ 2 h 498"/>
                <a:gd name="T12" fmla="*/ 14 w 552"/>
                <a:gd name="T13" fmla="*/ 2 h 498"/>
                <a:gd name="T14" fmla="*/ 16 w 552"/>
                <a:gd name="T15" fmla="*/ 1 h 498"/>
                <a:gd name="T16" fmla="*/ 15 w 552"/>
                <a:gd name="T17" fmla="*/ 1 h 498"/>
                <a:gd name="T18" fmla="*/ 17 w 552"/>
                <a:gd name="T19" fmla="*/ 1 h 498"/>
                <a:gd name="T20" fmla="*/ 18 w 552"/>
                <a:gd name="T21" fmla="*/ 1 h 498"/>
                <a:gd name="T22" fmla="*/ 20 w 552"/>
                <a:gd name="T23" fmla="*/ 1 h 498"/>
                <a:gd name="T24" fmla="*/ 19 w 552"/>
                <a:gd name="T25" fmla="*/ 1 h 498"/>
                <a:gd name="T26" fmla="*/ 19 w 552"/>
                <a:gd name="T27" fmla="*/ 1 h 498"/>
                <a:gd name="T28" fmla="*/ 19 w 552"/>
                <a:gd name="T29" fmla="*/ 2 h 498"/>
                <a:gd name="T30" fmla="*/ 20 w 552"/>
                <a:gd name="T31" fmla="*/ 2 h 498"/>
                <a:gd name="T32" fmla="*/ 20 w 552"/>
                <a:gd name="T33" fmla="*/ 2 h 498"/>
                <a:gd name="T34" fmla="*/ 21 w 552"/>
                <a:gd name="T35" fmla="*/ 2 h 498"/>
                <a:gd name="T36" fmla="*/ 22 w 552"/>
                <a:gd name="T37" fmla="*/ 2 h 498"/>
                <a:gd name="T38" fmla="*/ 22 w 552"/>
                <a:gd name="T39" fmla="*/ 3 h 498"/>
                <a:gd name="T40" fmla="*/ 23 w 552"/>
                <a:gd name="T41" fmla="*/ 2 h 498"/>
                <a:gd name="T42" fmla="*/ 24 w 552"/>
                <a:gd name="T43" fmla="*/ 2 h 498"/>
                <a:gd name="T44" fmla="*/ 26 w 552"/>
                <a:gd name="T45" fmla="*/ 5 h 498"/>
                <a:gd name="T46" fmla="*/ 27 w 552"/>
                <a:gd name="T47" fmla="*/ 8 h 498"/>
                <a:gd name="T48" fmla="*/ 26 w 552"/>
                <a:gd name="T49" fmla="*/ 10 h 498"/>
                <a:gd name="T50" fmla="*/ 26 w 552"/>
                <a:gd name="T51" fmla="*/ 13 h 498"/>
                <a:gd name="T52" fmla="*/ 25 w 552"/>
                <a:gd name="T53" fmla="*/ 15 h 498"/>
                <a:gd name="T54" fmla="*/ 24 w 552"/>
                <a:gd name="T55" fmla="*/ 14 h 498"/>
                <a:gd name="T56" fmla="*/ 23 w 552"/>
                <a:gd name="T57" fmla="*/ 12 h 498"/>
                <a:gd name="T58" fmla="*/ 22 w 552"/>
                <a:gd name="T59" fmla="*/ 10 h 498"/>
                <a:gd name="T60" fmla="*/ 21 w 552"/>
                <a:gd name="T61" fmla="*/ 8 h 498"/>
                <a:gd name="T62" fmla="*/ 21 w 552"/>
                <a:gd name="T63" fmla="*/ 8 h 498"/>
                <a:gd name="T64" fmla="*/ 20 w 552"/>
                <a:gd name="T65" fmla="*/ 8 h 498"/>
                <a:gd name="T66" fmla="*/ 20 w 552"/>
                <a:gd name="T67" fmla="*/ 9 h 498"/>
                <a:gd name="T68" fmla="*/ 21 w 552"/>
                <a:gd name="T69" fmla="*/ 12 h 498"/>
                <a:gd name="T70" fmla="*/ 22 w 552"/>
                <a:gd name="T71" fmla="*/ 13 h 498"/>
                <a:gd name="T72" fmla="*/ 23 w 552"/>
                <a:gd name="T73" fmla="*/ 15 h 498"/>
                <a:gd name="T74" fmla="*/ 23 w 552"/>
                <a:gd name="T75" fmla="*/ 15 h 498"/>
                <a:gd name="T76" fmla="*/ 24 w 552"/>
                <a:gd name="T77" fmla="*/ 16 h 498"/>
                <a:gd name="T78" fmla="*/ 24 w 552"/>
                <a:gd name="T79" fmla="*/ 18 h 498"/>
                <a:gd name="T80" fmla="*/ 25 w 552"/>
                <a:gd name="T81" fmla="*/ 21 h 498"/>
                <a:gd name="T82" fmla="*/ 26 w 552"/>
                <a:gd name="T83" fmla="*/ 23 h 498"/>
                <a:gd name="T84" fmla="*/ 26 w 552"/>
                <a:gd name="T85" fmla="*/ 25 h 498"/>
                <a:gd name="T86" fmla="*/ 28 w 552"/>
                <a:gd name="T87" fmla="*/ 27 h 498"/>
                <a:gd name="T88" fmla="*/ 29 w 552"/>
                <a:gd name="T89" fmla="*/ 29 h 498"/>
                <a:gd name="T90" fmla="*/ 29 w 552"/>
                <a:gd name="T91" fmla="*/ 30 h 498"/>
                <a:gd name="T92" fmla="*/ 28 w 552"/>
                <a:gd name="T93" fmla="*/ 31 h 498"/>
                <a:gd name="T94" fmla="*/ 29 w 552"/>
                <a:gd name="T95" fmla="*/ 31 h 498"/>
                <a:gd name="T96" fmla="*/ 27 w 552"/>
                <a:gd name="T97" fmla="*/ 34 h 498"/>
                <a:gd name="T98" fmla="*/ 19 w 552"/>
                <a:gd name="T99" fmla="*/ 37 h 498"/>
                <a:gd name="T100" fmla="*/ 1 w 552"/>
                <a:gd name="T101" fmla="*/ 37 h 498"/>
                <a:gd name="T102" fmla="*/ 1 w 552"/>
                <a:gd name="T103" fmla="*/ 8 h 498"/>
                <a:gd name="T104" fmla="*/ 1 w 552"/>
                <a:gd name="T105" fmla="*/ 5 h 498"/>
                <a:gd name="T106" fmla="*/ 1 w 552"/>
                <a:gd name="T107" fmla="*/ 2 h 498"/>
                <a:gd name="T108" fmla="*/ 1 w 552"/>
                <a:gd name="T109" fmla="*/ 1 h 49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552" h="498">
                  <a:moveTo>
                    <a:pt x="24" y="6"/>
                  </a:move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24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36"/>
                  </a:lnTo>
                  <a:lnTo>
                    <a:pt x="198" y="36"/>
                  </a:lnTo>
                  <a:lnTo>
                    <a:pt x="204" y="36"/>
                  </a:lnTo>
                  <a:lnTo>
                    <a:pt x="204" y="42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36"/>
                  </a:lnTo>
                  <a:lnTo>
                    <a:pt x="246" y="30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64" y="18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306" y="6"/>
                  </a:lnTo>
                  <a:lnTo>
                    <a:pt x="312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2"/>
                  </a:lnTo>
                  <a:lnTo>
                    <a:pt x="312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66" y="18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18"/>
                  </a:lnTo>
                  <a:lnTo>
                    <a:pt x="366" y="18"/>
                  </a:lnTo>
                  <a:lnTo>
                    <a:pt x="360" y="18"/>
                  </a:lnTo>
                  <a:lnTo>
                    <a:pt x="360" y="12"/>
                  </a:lnTo>
                  <a:lnTo>
                    <a:pt x="360" y="6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72" y="24"/>
                  </a:lnTo>
                  <a:lnTo>
                    <a:pt x="366" y="24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8" y="30"/>
                  </a:lnTo>
                  <a:lnTo>
                    <a:pt x="378" y="24"/>
                  </a:lnTo>
                  <a:lnTo>
                    <a:pt x="372" y="24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84" y="24"/>
                  </a:lnTo>
                  <a:lnTo>
                    <a:pt x="378" y="24"/>
                  </a:lnTo>
                  <a:lnTo>
                    <a:pt x="384" y="24"/>
                  </a:lnTo>
                  <a:lnTo>
                    <a:pt x="384" y="30"/>
                  </a:lnTo>
                  <a:lnTo>
                    <a:pt x="390" y="30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14" y="36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50" y="30"/>
                  </a:lnTo>
                  <a:lnTo>
                    <a:pt x="456" y="24"/>
                  </a:lnTo>
                  <a:lnTo>
                    <a:pt x="468" y="24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80" y="36"/>
                  </a:lnTo>
                  <a:lnTo>
                    <a:pt x="480" y="42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2" y="66"/>
                  </a:lnTo>
                  <a:lnTo>
                    <a:pt x="492" y="72"/>
                  </a:lnTo>
                  <a:lnTo>
                    <a:pt x="498" y="84"/>
                  </a:lnTo>
                  <a:lnTo>
                    <a:pt x="504" y="96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20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498" y="132"/>
                  </a:lnTo>
                  <a:lnTo>
                    <a:pt x="498" y="138"/>
                  </a:lnTo>
                  <a:lnTo>
                    <a:pt x="492" y="138"/>
                  </a:lnTo>
                  <a:lnTo>
                    <a:pt x="492" y="144"/>
                  </a:lnTo>
                  <a:lnTo>
                    <a:pt x="492" y="150"/>
                  </a:lnTo>
                  <a:lnTo>
                    <a:pt x="492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68"/>
                  </a:lnTo>
                  <a:lnTo>
                    <a:pt x="480" y="168"/>
                  </a:lnTo>
                  <a:lnTo>
                    <a:pt x="486" y="174"/>
                  </a:lnTo>
                  <a:lnTo>
                    <a:pt x="486" y="180"/>
                  </a:lnTo>
                  <a:lnTo>
                    <a:pt x="486" y="186"/>
                  </a:lnTo>
                  <a:lnTo>
                    <a:pt x="480" y="186"/>
                  </a:lnTo>
                  <a:lnTo>
                    <a:pt x="480" y="192"/>
                  </a:lnTo>
                  <a:lnTo>
                    <a:pt x="474" y="192"/>
                  </a:lnTo>
                  <a:lnTo>
                    <a:pt x="474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62" y="192"/>
                  </a:lnTo>
                  <a:lnTo>
                    <a:pt x="456" y="186"/>
                  </a:lnTo>
                  <a:lnTo>
                    <a:pt x="450" y="186"/>
                  </a:lnTo>
                  <a:lnTo>
                    <a:pt x="450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2" y="162"/>
                  </a:lnTo>
                  <a:lnTo>
                    <a:pt x="426" y="162"/>
                  </a:lnTo>
                  <a:lnTo>
                    <a:pt x="426" y="156"/>
                  </a:lnTo>
                  <a:lnTo>
                    <a:pt x="426" y="150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44"/>
                  </a:lnTo>
                  <a:lnTo>
                    <a:pt x="420" y="144"/>
                  </a:lnTo>
                  <a:lnTo>
                    <a:pt x="420" y="138"/>
                  </a:lnTo>
                  <a:lnTo>
                    <a:pt x="420" y="132"/>
                  </a:lnTo>
                  <a:lnTo>
                    <a:pt x="414" y="132"/>
                  </a:lnTo>
                  <a:lnTo>
                    <a:pt x="414" y="126"/>
                  </a:lnTo>
                  <a:lnTo>
                    <a:pt x="408" y="126"/>
                  </a:lnTo>
                  <a:lnTo>
                    <a:pt x="408" y="120"/>
                  </a:lnTo>
                  <a:lnTo>
                    <a:pt x="402" y="120"/>
                  </a:lnTo>
                  <a:lnTo>
                    <a:pt x="402" y="114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396" y="102"/>
                  </a:lnTo>
                  <a:lnTo>
                    <a:pt x="396" y="96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78" y="108"/>
                  </a:lnTo>
                  <a:lnTo>
                    <a:pt x="384" y="108"/>
                  </a:lnTo>
                  <a:lnTo>
                    <a:pt x="384" y="114"/>
                  </a:lnTo>
                  <a:lnTo>
                    <a:pt x="390" y="114"/>
                  </a:lnTo>
                  <a:lnTo>
                    <a:pt x="390" y="120"/>
                  </a:lnTo>
                  <a:lnTo>
                    <a:pt x="396" y="120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6" y="144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8" y="150"/>
                  </a:lnTo>
                  <a:lnTo>
                    <a:pt x="408" y="156"/>
                  </a:lnTo>
                  <a:lnTo>
                    <a:pt x="414" y="156"/>
                  </a:lnTo>
                  <a:lnTo>
                    <a:pt x="414" y="162"/>
                  </a:lnTo>
                  <a:lnTo>
                    <a:pt x="414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74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6"/>
                  </a:lnTo>
                  <a:lnTo>
                    <a:pt x="438" y="192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44" y="204"/>
                  </a:lnTo>
                  <a:lnTo>
                    <a:pt x="438" y="198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198"/>
                  </a:lnTo>
                  <a:lnTo>
                    <a:pt x="438" y="204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56" y="222"/>
                  </a:lnTo>
                  <a:lnTo>
                    <a:pt x="456" y="228"/>
                  </a:lnTo>
                  <a:lnTo>
                    <a:pt x="456" y="234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2" y="246"/>
                  </a:lnTo>
                  <a:lnTo>
                    <a:pt x="462" y="252"/>
                  </a:lnTo>
                  <a:lnTo>
                    <a:pt x="462" y="258"/>
                  </a:lnTo>
                  <a:lnTo>
                    <a:pt x="468" y="258"/>
                  </a:lnTo>
                  <a:lnTo>
                    <a:pt x="468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80" y="282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86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504" y="318"/>
                  </a:lnTo>
                  <a:lnTo>
                    <a:pt x="504" y="324"/>
                  </a:lnTo>
                  <a:lnTo>
                    <a:pt x="504" y="330"/>
                  </a:lnTo>
                  <a:lnTo>
                    <a:pt x="510" y="330"/>
                  </a:lnTo>
                  <a:lnTo>
                    <a:pt x="510" y="336"/>
                  </a:lnTo>
                  <a:lnTo>
                    <a:pt x="510" y="342"/>
                  </a:lnTo>
                  <a:lnTo>
                    <a:pt x="516" y="342"/>
                  </a:lnTo>
                  <a:lnTo>
                    <a:pt x="516" y="348"/>
                  </a:lnTo>
                  <a:lnTo>
                    <a:pt x="516" y="354"/>
                  </a:lnTo>
                  <a:lnTo>
                    <a:pt x="522" y="354"/>
                  </a:lnTo>
                  <a:lnTo>
                    <a:pt x="522" y="360"/>
                  </a:lnTo>
                  <a:lnTo>
                    <a:pt x="528" y="366"/>
                  </a:lnTo>
                  <a:lnTo>
                    <a:pt x="534" y="372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40" y="384"/>
                  </a:lnTo>
                  <a:lnTo>
                    <a:pt x="546" y="384"/>
                  </a:lnTo>
                  <a:lnTo>
                    <a:pt x="552" y="384"/>
                  </a:lnTo>
                  <a:lnTo>
                    <a:pt x="552" y="390"/>
                  </a:lnTo>
                  <a:lnTo>
                    <a:pt x="552" y="384"/>
                  </a:lnTo>
                  <a:lnTo>
                    <a:pt x="546" y="384"/>
                  </a:lnTo>
                  <a:lnTo>
                    <a:pt x="546" y="390"/>
                  </a:lnTo>
                  <a:lnTo>
                    <a:pt x="546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34" y="390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40" y="402"/>
                  </a:lnTo>
                  <a:lnTo>
                    <a:pt x="534" y="402"/>
                  </a:lnTo>
                  <a:lnTo>
                    <a:pt x="540" y="402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14"/>
                  </a:lnTo>
                  <a:lnTo>
                    <a:pt x="540" y="420"/>
                  </a:lnTo>
                  <a:lnTo>
                    <a:pt x="540" y="426"/>
                  </a:lnTo>
                  <a:lnTo>
                    <a:pt x="546" y="426"/>
                  </a:lnTo>
                  <a:lnTo>
                    <a:pt x="522" y="444"/>
                  </a:lnTo>
                  <a:lnTo>
                    <a:pt x="510" y="438"/>
                  </a:lnTo>
                  <a:lnTo>
                    <a:pt x="498" y="468"/>
                  </a:lnTo>
                  <a:lnTo>
                    <a:pt x="468" y="474"/>
                  </a:lnTo>
                  <a:lnTo>
                    <a:pt x="462" y="492"/>
                  </a:lnTo>
                  <a:lnTo>
                    <a:pt x="438" y="498"/>
                  </a:lnTo>
                  <a:lnTo>
                    <a:pt x="420" y="480"/>
                  </a:lnTo>
                  <a:lnTo>
                    <a:pt x="366" y="480"/>
                  </a:lnTo>
                  <a:lnTo>
                    <a:pt x="360" y="480"/>
                  </a:lnTo>
                  <a:lnTo>
                    <a:pt x="336" y="480"/>
                  </a:lnTo>
                  <a:lnTo>
                    <a:pt x="336" y="474"/>
                  </a:lnTo>
                  <a:lnTo>
                    <a:pt x="330" y="474"/>
                  </a:lnTo>
                  <a:lnTo>
                    <a:pt x="330" y="480"/>
                  </a:lnTo>
                  <a:lnTo>
                    <a:pt x="90" y="480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09" name="Freeform 99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auto">
            <a:xfrm>
              <a:off x="4885" y="1212"/>
              <a:ext cx="208" cy="182"/>
            </a:xfrm>
            <a:custGeom>
              <a:avLst/>
              <a:gdLst>
                <a:gd name="T0" fmla="*/ 7 w 336"/>
                <a:gd name="T1" fmla="*/ 1 h 276"/>
                <a:gd name="T2" fmla="*/ 7 w 336"/>
                <a:gd name="T3" fmla="*/ 3 h 276"/>
                <a:gd name="T4" fmla="*/ 7 w 336"/>
                <a:gd name="T5" fmla="*/ 4 h 276"/>
                <a:gd name="T6" fmla="*/ 7 w 336"/>
                <a:gd name="T7" fmla="*/ 5 h 276"/>
                <a:gd name="T8" fmla="*/ 7 w 336"/>
                <a:gd name="T9" fmla="*/ 6 h 276"/>
                <a:gd name="T10" fmla="*/ 7 w 336"/>
                <a:gd name="T11" fmla="*/ 7 h 276"/>
                <a:gd name="T12" fmla="*/ 9 w 336"/>
                <a:gd name="T13" fmla="*/ 9 h 276"/>
                <a:gd name="T14" fmla="*/ 9 w 336"/>
                <a:gd name="T15" fmla="*/ 11 h 276"/>
                <a:gd name="T16" fmla="*/ 9 w 336"/>
                <a:gd name="T17" fmla="*/ 12 h 276"/>
                <a:gd name="T18" fmla="*/ 9 w 336"/>
                <a:gd name="T19" fmla="*/ 11 h 276"/>
                <a:gd name="T20" fmla="*/ 9 w 336"/>
                <a:gd name="T21" fmla="*/ 11 h 276"/>
                <a:gd name="T22" fmla="*/ 11 w 336"/>
                <a:gd name="T23" fmla="*/ 11 h 276"/>
                <a:gd name="T24" fmla="*/ 11 w 336"/>
                <a:gd name="T25" fmla="*/ 12 h 276"/>
                <a:gd name="T26" fmla="*/ 11 w 336"/>
                <a:gd name="T27" fmla="*/ 12 h 276"/>
                <a:gd name="T28" fmla="*/ 12 w 336"/>
                <a:gd name="T29" fmla="*/ 12 h 276"/>
                <a:gd name="T30" fmla="*/ 12 w 336"/>
                <a:gd name="T31" fmla="*/ 12 h 276"/>
                <a:gd name="T32" fmla="*/ 12 w 336"/>
                <a:gd name="T33" fmla="*/ 12 h 276"/>
                <a:gd name="T34" fmla="*/ 12 w 336"/>
                <a:gd name="T35" fmla="*/ 13 h 276"/>
                <a:gd name="T36" fmla="*/ 14 w 336"/>
                <a:gd name="T37" fmla="*/ 15 h 276"/>
                <a:gd name="T38" fmla="*/ 15 w 336"/>
                <a:gd name="T39" fmla="*/ 16 h 276"/>
                <a:gd name="T40" fmla="*/ 15 w 336"/>
                <a:gd name="T41" fmla="*/ 17 h 276"/>
                <a:gd name="T42" fmla="*/ 15 w 336"/>
                <a:gd name="T43" fmla="*/ 18 h 276"/>
                <a:gd name="T44" fmla="*/ 17 w 336"/>
                <a:gd name="T45" fmla="*/ 18 h 276"/>
                <a:gd name="T46" fmla="*/ 17 w 336"/>
                <a:gd name="T47" fmla="*/ 19 h 276"/>
                <a:gd name="T48" fmla="*/ 17 w 336"/>
                <a:gd name="T49" fmla="*/ 20 h 276"/>
                <a:gd name="T50" fmla="*/ 18 w 336"/>
                <a:gd name="T51" fmla="*/ 20 h 276"/>
                <a:gd name="T52" fmla="*/ 19 w 336"/>
                <a:gd name="T53" fmla="*/ 20 h 276"/>
                <a:gd name="T54" fmla="*/ 19 w 336"/>
                <a:gd name="T55" fmla="*/ 21 h 276"/>
                <a:gd name="T56" fmla="*/ 18 w 336"/>
                <a:gd name="T57" fmla="*/ 22 h 276"/>
                <a:gd name="T58" fmla="*/ 17 w 336"/>
                <a:gd name="T59" fmla="*/ 22 h 276"/>
                <a:gd name="T60" fmla="*/ 16 w 336"/>
                <a:gd name="T61" fmla="*/ 21 h 276"/>
                <a:gd name="T62" fmla="*/ 15 w 336"/>
                <a:gd name="T63" fmla="*/ 20 h 276"/>
                <a:gd name="T64" fmla="*/ 14 w 336"/>
                <a:gd name="T65" fmla="*/ 18 h 276"/>
                <a:gd name="T66" fmla="*/ 12 w 336"/>
                <a:gd name="T67" fmla="*/ 16 h 276"/>
                <a:gd name="T68" fmla="*/ 12 w 336"/>
                <a:gd name="T69" fmla="*/ 15 h 276"/>
                <a:gd name="T70" fmla="*/ 11 w 336"/>
                <a:gd name="T71" fmla="*/ 15 h 276"/>
                <a:gd name="T72" fmla="*/ 9 w 336"/>
                <a:gd name="T73" fmla="*/ 15 h 276"/>
                <a:gd name="T74" fmla="*/ 9 w 336"/>
                <a:gd name="T75" fmla="*/ 15 h 276"/>
                <a:gd name="T76" fmla="*/ 7 w 336"/>
                <a:gd name="T77" fmla="*/ 13 h 276"/>
                <a:gd name="T78" fmla="*/ 7 w 336"/>
                <a:gd name="T79" fmla="*/ 15 h 276"/>
                <a:gd name="T80" fmla="*/ 6 w 336"/>
                <a:gd name="T81" fmla="*/ 15 h 276"/>
                <a:gd name="T82" fmla="*/ 4 w 336"/>
                <a:gd name="T83" fmla="*/ 13 h 276"/>
                <a:gd name="T84" fmla="*/ 4 w 336"/>
                <a:gd name="T85" fmla="*/ 16 h 276"/>
                <a:gd name="T86" fmla="*/ 2 w 336"/>
                <a:gd name="T87" fmla="*/ 15 h 276"/>
                <a:gd name="T88" fmla="*/ 2 w 336"/>
                <a:gd name="T89" fmla="*/ 15 h 276"/>
                <a:gd name="T90" fmla="*/ 1 w 336"/>
                <a:gd name="T91" fmla="*/ 15 h 276"/>
                <a:gd name="T92" fmla="*/ 1 w 336"/>
                <a:gd name="T93" fmla="*/ 15 h 276"/>
                <a:gd name="T94" fmla="*/ 0 w 336"/>
                <a:gd name="T95" fmla="*/ 12 h 276"/>
                <a:gd name="T96" fmla="*/ 1 w 336"/>
                <a:gd name="T97" fmla="*/ 11 h 276"/>
                <a:gd name="T98" fmla="*/ 1 w 336"/>
                <a:gd name="T99" fmla="*/ 9 h 276"/>
                <a:gd name="T100" fmla="*/ 1 w 336"/>
                <a:gd name="T101" fmla="*/ 7 h 276"/>
                <a:gd name="T102" fmla="*/ 1 w 336"/>
                <a:gd name="T103" fmla="*/ 6 h 276"/>
                <a:gd name="T104" fmla="*/ 1 w 336"/>
                <a:gd name="T105" fmla="*/ 5 h 276"/>
                <a:gd name="T106" fmla="*/ 2 w 336"/>
                <a:gd name="T107" fmla="*/ 3 h 276"/>
                <a:gd name="T108" fmla="*/ 2 w 336"/>
                <a:gd name="T109" fmla="*/ 3 h 276"/>
                <a:gd name="T110" fmla="*/ 4 w 336"/>
                <a:gd name="T111" fmla="*/ 2 h 276"/>
                <a:gd name="T112" fmla="*/ 4 w 336"/>
                <a:gd name="T113" fmla="*/ 1 h 276"/>
                <a:gd name="T114" fmla="*/ 6 w 336"/>
                <a:gd name="T115" fmla="*/ 1 h 2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36" h="276">
                  <a:moveTo>
                    <a:pt x="108" y="0"/>
                  </a:move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8" y="84"/>
                  </a:lnTo>
                  <a:lnTo>
                    <a:pt x="138" y="90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50" y="108"/>
                  </a:lnTo>
                  <a:lnTo>
                    <a:pt x="150" y="114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62" y="120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8" y="138"/>
                  </a:lnTo>
                  <a:lnTo>
                    <a:pt x="174" y="138"/>
                  </a:lnTo>
                  <a:lnTo>
                    <a:pt x="168" y="132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74" y="120"/>
                  </a:lnTo>
                  <a:lnTo>
                    <a:pt x="174" y="126"/>
                  </a:lnTo>
                  <a:lnTo>
                    <a:pt x="180" y="126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86" y="144"/>
                  </a:lnTo>
                  <a:lnTo>
                    <a:pt x="180" y="144"/>
                  </a:lnTo>
                  <a:lnTo>
                    <a:pt x="186" y="144"/>
                  </a:lnTo>
                  <a:lnTo>
                    <a:pt x="186" y="150"/>
                  </a:lnTo>
                  <a:lnTo>
                    <a:pt x="192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0" y="150"/>
                  </a:lnTo>
                  <a:lnTo>
                    <a:pt x="216" y="156"/>
                  </a:lnTo>
                  <a:lnTo>
                    <a:pt x="216" y="162"/>
                  </a:lnTo>
                  <a:lnTo>
                    <a:pt x="222" y="162"/>
                  </a:lnTo>
                  <a:lnTo>
                    <a:pt x="228" y="162"/>
                  </a:lnTo>
                  <a:lnTo>
                    <a:pt x="234" y="162"/>
                  </a:lnTo>
                  <a:lnTo>
                    <a:pt x="240" y="162"/>
                  </a:lnTo>
                  <a:lnTo>
                    <a:pt x="240" y="168"/>
                  </a:lnTo>
                  <a:lnTo>
                    <a:pt x="246" y="174"/>
                  </a:lnTo>
                  <a:lnTo>
                    <a:pt x="246" y="180"/>
                  </a:lnTo>
                  <a:lnTo>
                    <a:pt x="252" y="186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8" y="192"/>
                  </a:lnTo>
                  <a:lnTo>
                    <a:pt x="264" y="198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82" y="210"/>
                  </a:lnTo>
                  <a:lnTo>
                    <a:pt x="282" y="216"/>
                  </a:lnTo>
                  <a:lnTo>
                    <a:pt x="288" y="216"/>
                  </a:lnTo>
                  <a:lnTo>
                    <a:pt x="288" y="210"/>
                  </a:lnTo>
                  <a:lnTo>
                    <a:pt x="288" y="216"/>
                  </a:lnTo>
                  <a:lnTo>
                    <a:pt x="294" y="216"/>
                  </a:lnTo>
                  <a:lnTo>
                    <a:pt x="294" y="222"/>
                  </a:lnTo>
                  <a:lnTo>
                    <a:pt x="294" y="228"/>
                  </a:lnTo>
                  <a:lnTo>
                    <a:pt x="294" y="234"/>
                  </a:lnTo>
                  <a:lnTo>
                    <a:pt x="300" y="234"/>
                  </a:lnTo>
                  <a:lnTo>
                    <a:pt x="306" y="23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18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30" y="258"/>
                  </a:lnTo>
                  <a:lnTo>
                    <a:pt x="336" y="258"/>
                  </a:lnTo>
                  <a:lnTo>
                    <a:pt x="330" y="264"/>
                  </a:lnTo>
                  <a:lnTo>
                    <a:pt x="324" y="264"/>
                  </a:lnTo>
                  <a:lnTo>
                    <a:pt x="318" y="264"/>
                  </a:lnTo>
                  <a:lnTo>
                    <a:pt x="318" y="270"/>
                  </a:lnTo>
                  <a:lnTo>
                    <a:pt x="318" y="276"/>
                  </a:lnTo>
                  <a:lnTo>
                    <a:pt x="312" y="276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94" y="270"/>
                  </a:lnTo>
                  <a:lnTo>
                    <a:pt x="294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0" y="246"/>
                  </a:lnTo>
                  <a:lnTo>
                    <a:pt x="270" y="240"/>
                  </a:lnTo>
                  <a:lnTo>
                    <a:pt x="264" y="234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04"/>
                  </a:lnTo>
                  <a:lnTo>
                    <a:pt x="228" y="198"/>
                  </a:lnTo>
                  <a:lnTo>
                    <a:pt x="222" y="192"/>
                  </a:lnTo>
                  <a:lnTo>
                    <a:pt x="222" y="186"/>
                  </a:lnTo>
                  <a:lnTo>
                    <a:pt x="216" y="186"/>
                  </a:lnTo>
                  <a:lnTo>
                    <a:pt x="210" y="186"/>
                  </a:lnTo>
                  <a:lnTo>
                    <a:pt x="204" y="186"/>
                  </a:lnTo>
                  <a:lnTo>
                    <a:pt x="198" y="180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0" y="174"/>
                  </a:lnTo>
                  <a:lnTo>
                    <a:pt x="174" y="174"/>
                  </a:lnTo>
                  <a:lnTo>
                    <a:pt x="168" y="174"/>
                  </a:lnTo>
                  <a:lnTo>
                    <a:pt x="162" y="174"/>
                  </a:lnTo>
                  <a:lnTo>
                    <a:pt x="162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50" y="174"/>
                  </a:lnTo>
                  <a:lnTo>
                    <a:pt x="144" y="174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2" y="162"/>
                  </a:lnTo>
                  <a:lnTo>
                    <a:pt x="132" y="168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84" y="162"/>
                  </a:lnTo>
                  <a:lnTo>
                    <a:pt x="78" y="162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60" y="192"/>
                  </a:lnTo>
                  <a:lnTo>
                    <a:pt x="54" y="192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36" y="174"/>
                  </a:lnTo>
                  <a:lnTo>
                    <a:pt x="36" y="180"/>
                  </a:lnTo>
                  <a:lnTo>
                    <a:pt x="30" y="180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24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6" y="168"/>
                  </a:lnTo>
                  <a:lnTo>
                    <a:pt x="6" y="156"/>
                  </a:lnTo>
                  <a:lnTo>
                    <a:pt x="6" y="150"/>
                  </a:lnTo>
                  <a:lnTo>
                    <a:pt x="0" y="144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2"/>
                  </a:lnTo>
                  <a:lnTo>
                    <a:pt x="12" y="126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10" name="Freeform 100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auto">
            <a:xfrm>
              <a:off x="4780" y="1309"/>
              <a:ext cx="461" cy="373"/>
            </a:xfrm>
            <a:custGeom>
              <a:avLst/>
              <a:gdLst>
                <a:gd name="T0" fmla="*/ 11 w 744"/>
                <a:gd name="T1" fmla="*/ 3 h 570"/>
                <a:gd name="T2" fmla="*/ 12 w 744"/>
                <a:gd name="T3" fmla="*/ 2 h 570"/>
                <a:gd name="T4" fmla="*/ 12 w 744"/>
                <a:gd name="T5" fmla="*/ 3 h 570"/>
                <a:gd name="T6" fmla="*/ 15 w 744"/>
                <a:gd name="T7" fmla="*/ 1 h 570"/>
                <a:gd name="T8" fmla="*/ 16 w 744"/>
                <a:gd name="T9" fmla="*/ 2 h 570"/>
                <a:gd name="T10" fmla="*/ 17 w 744"/>
                <a:gd name="T11" fmla="*/ 1 h 570"/>
                <a:gd name="T12" fmla="*/ 19 w 744"/>
                <a:gd name="T13" fmla="*/ 1 h 570"/>
                <a:gd name="T14" fmla="*/ 20 w 744"/>
                <a:gd name="T15" fmla="*/ 2 h 570"/>
                <a:gd name="T16" fmla="*/ 22 w 744"/>
                <a:gd name="T17" fmla="*/ 3 h 570"/>
                <a:gd name="T18" fmla="*/ 25 w 744"/>
                <a:gd name="T19" fmla="*/ 7 h 570"/>
                <a:gd name="T20" fmla="*/ 25 w 744"/>
                <a:gd name="T21" fmla="*/ 9 h 570"/>
                <a:gd name="T22" fmla="*/ 26 w 744"/>
                <a:gd name="T23" fmla="*/ 10 h 570"/>
                <a:gd name="T24" fmla="*/ 25 w 744"/>
                <a:gd name="T25" fmla="*/ 12 h 570"/>
                <a:gd name="T26" fmla="*/ 25 w 744"/>
                <a:gd name="T27" fmla="*/ 15 h 570"/>
                <a:gd name="T28" fmla="*/ 27 w 744"/>
                <a:gd name="T29" fmla="*/ 16 h 570"/>
                <a:gd name="T30" fmla="*/ 28 w 744"/>
                <a:gd name="T31" fmla="*/ 16 h 570"/>
                <a:gd name="T32" fmla="*/ 28 w 744"/>
                <a:gd name="T33" fmla="*/ 18 h 570"/>
                <a:gd name="T34" fmla="*/ 29 w 744"/>
                <a:gd name="T35" fmla="*/ 20 h 570"/>
                <a:gd name="T36" fmla="*/ 31 w 744"/>
                <a:gd name="T37" fmla="*/ 22 h 570"/>
                <a:gd name="T38" fmla="*/ 37 w 744"/>
                <a:gd name="T39" fmla="*/ 26 h 570"/>
                <a:gd name="T40" fmla="*/ 33 w 744"/>
                <a:gd name="T41" fmla="*/ 39 h 570"/>
                <a:gd name="T42" fmla="*/ 28 w 744"/>
                <a:gd name="T43" fmla="*/ 41 h 570"/>
                <a:gd name="T44" fmla="*/ 27 w 744"/>
                <a:gd name="T45" fmla="*/ 42 h 570"/>
                <a:gd name="T46" fmla="*/ 25 w 744"/>
                <a:gd name="T47" fmla="*/ 43 h 570"/>
                <a:gd name="T48" fmla="*/ 23 w 744"/>
                <a:gd name="T49" fmla="*/ 43 h 570"/>
                <a:gd name="T50" fmla="*/ 22 w 744"/>
                <a:gd name="T51" fmla="*/ 41 h 570"/>
                <a:gd name="T52" fmla="*/ 20 w 744"/>
                <a:gd name="T53" fmla="*/ 43 h 570"/>
                <a:gd name="T54" fmla="*/ 18 w 744"/>
                <a:gd name="T55" fmla="*/ 45 h 570"/>
                <a:gd name="T56" fmla="*/ 16 w 744"/>
                <a:gd name="T57" fmla="*/ 44 h 570"/>
                <a:gd name="T58" fmla="*/ 14 w 744"/>
                <a:gd name="T59" fmla="*/ 44 h 570"/>
                <a:gd name="T60" fmla="*/ 11 w 744"/>
                <a:gd name="T61" fmla="*/ 41 h 570"/>
                <a:gd name="T62" fmla="*/ 9 w 744"/>
                <a:gd name="T63" fmla="*/ 41 h 570"/>
                <a:gd name="T64" fmla="*/ 8 w 744"/>
                <a:gd name="T65" fmla="*/ 38 h 570"/>
                <a:gd name="T66" fmla="*/ 7 w 744"/>
                <a:gd name="T67" fmla="*/ 37 h 570"/>
                <a:gd name="T68" fmla="*/ 6 w 744"/>
                <a:gd name="T69" fmla="*/ 36 h 570"/>
                <a:gd name="T70" fmla="*/ 6 w 744"/>
                <a:gd name="T71" fmla="*/ 33 h 570"/>
                <a:gd name="T72" fmla="*/ 4 w 744"/>
                <a:gd name="T73" fmla="*/ 32 h 570"/>
                <a:gd name="T74" fmla="*/ 4 w 744"/>
                <a:gd name="T75" fmla="*/ 31 h 570"/>
                <a:gd name="T76" fmla="*/ 2 w 744"/>
                <a:gd name="T77" fmla="*/ 30 h 570"/>
                <a:gd name="T78" fmla="*/ 2 w 744"/>
                <a:gd name="T79" fmla="*/ 28 h 570"/>
                <a:gd name="T80" fmla="*/ 1 w 744"/>
                <a:gd name="T81" fmla="*/ 28 h 570"/>
                <a:gd name="T82" fmla="*/ 0 w 744"/>
                <a:gd name="T83" fmla="*/ 28 h 570"/>
                <a:gd name="T84" fmla="*/ 1 w 744"/>
                <a:gd name="T85" fmla="*/ 27 h 570"/>
                <a:gd name="T86" fmla="*/ 1 w 744"/>
                <a:gd name="T87" fmla="*/ 26 h 570"/>
                <a:gd name="T88" fmla="*/ 2 w 744"/>
                <a:gd name="T89" fmla="*/ 26 h 570"/>
                <a:gd name="T90" fmla="*/ 2 w 744"/>
                <a:gd name="T91" fmla="*/ 24 h 570"/>
                <a:gd name="T92" fmla="*/ 4 w 744"/>
                <a:gd name="T93" fmla="*/ 20 h 570"/>
                <a:gd name="T94" fmla="*/ 4 w 744"/>
                <a:gd name="T95" fmla="*/ 18 h 570"/>
                <a:gd name="T96" fmla="*/ 4 w 744"/>
                <a:gd name="T97" fmla="*/ 16 h 570"/>
                <a:gd name="T98" fmla="*/ 6 w 744"/>
                <a:gd name="T99" fmla="*/ 16 h 570"/>
                <a:gd name="T100" fmla="*/ 6 w 744"/>
                <a:gd name="T101" fmla="*/ 14 h 570"/>
                <a:gd name="T102" fmla="*/ 7 w 744"/>
                <a:gd name="T103" fmla="*/ 12 h 570"/>
                <a:gd name="T104" fmla="*/ 7 w 744"/>
                <a:gd name="T105" fmla="*/ 9 h 570"/>
                <a:gd name="T106" fmla="*/ 9 w 744"/>
                <a:gd name="T107" fmla="*/ 9 h 570"/>
                <a:gd name="T108" fmla="*/ 9 w 744"/>
                <a:gd name="T109" fmla="*/ 6 h 570"/>
                <a:gd name="T110" fmla="*/ 10 w 744"/>
                <a:gd name="T111" fmla="*/ 4 h 5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744" h="570">
                  <a:moveTo>
                    <a:pt x="174" y="48"/>
                  </a:move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04" y="24"/>
                  </a:lnTo>
                  <a:lnTo>
                    <a:pt x="210" y="24"/>
                  </a:lnTo>
                  <a:lnTo>
                    <a:pt x="216" y="24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46" y="0"/>
                  </a:lnTo>
                  <a:lnTo>
                    <a:pt x="246" y="6"/>
                  </a:lnTo>
                  <a:lnTo>
                    <a:pt x="246" y="12"/>
                  </a:lnTo>
                  <a:lnTo>
                    <a:pt x="252" y="12"/>
                  </a:lnTo>
                  <a:lnTo>
                    <a:pt x="258" y="12"/>
                  </a:lnTo>
                  <a:lnTo>
                    <a:pt x="258" y="18"/>
                  </a:lnTo>
                  <a:lnTo>
                    <a:pt x="264" y="18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8" y="24"/>
                  </a:lnTo>
                  <a:lnTo>
                    <a:pt x="294" y="24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24" y="24"/>
                  </a:lnTo>
                  <a:lnTo>
                    <a:pt x="324" y="18"/>
                  </a:lnTo>
                  <a:lnTo>
                    <a:pt x="330" y="18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30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6" y="48"/>
                  </a:lnTo>
                  <a:lnTo>
                    <a:pt x="402" y="54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84"/>
                  </a:lnTo>
                  <a:lnTo>
                    <a:pt x="438" y="90"/>
                  </a:lnTo>
                  <a:lnTo>
                    <a:pt x="438" y="96"/>
                  </a:lnTo>
                  <a:lnTo>
                    <a:pt x="444" y="96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08"/>
                  </a:lnTo>
                  <a:lnTo>
                    <a:pt x="456" y="108"/>
                  </a:lnTo>
                  <a:lnTo>
                    <a:pt x="462" y="114"/>
                  </a:lnTo>
                  <a:lnTo>
                    <a:pt x="462" y="120"/>
                  </a:lnTo>
                  <a:lnTo>
                    <a:pt x="468" y="120"/>
                  </a:lnTo>
                  <a:lnTo>
                    <a:pt x="462" y="126"/>
                  </a:lnTo>
                  <a:lnTo>
                    <a:pt x="462" y="132"/>
                  </a:lnTo>
                  <a:lnTo>
                    <a:pt x="456" y="132"/>
                  </a:lnTo>
                  <a:lnTo>
                    <a:pt x="456" y="138"/>
                  </a:lnTo>
                  <a:lnTo>
                    <a:pt x="456" y="144"/>
                  </a:lnTo>
                  <a:lnTo>
                    <a:pt x="450" y="144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6" y="198"/>
                  </a:lnTo>
                  <a:lnTo>
                    <a:pt x="462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86" y="192"/>
                  </a:lnTo>
                  <a:lnTo>
                    <a:pt x="486" y="198"/>
                  </a:lnTo>
                  <a:lnTo>
                    <a:pt x="492" y="198"/>
                  </a:lnTo>
                  <a:lnTo>
                    <a:pt x="486" y="210"/>
                  </a:lnTo>
                  <a:lnTo>
                    <a:pt x="480" y="210"/>
                  </a:lnTo>
                  <a:lnTo>
                    <a:pt x="480" y="216"/>
                  </a:lnTo>
                  <a:lnTo>
                    <a:pt x="480" y="222"/>
                  </a:lnTo>
                  <a:lnTo>
                    <a:pt x="486" y="222"/>
                  </a:lnTo>
                  <a:lnTo>
                    <a:pt x="486" y="228"/>
                  </a:lnTo>
                  <a:lnTo>
                    <a:pt x="486" y="234"/>
                  </a:lnTo>
                  <a:lnTo>
                    <a:pt x="492" y="234"/>
                  </a:lnTo>
                  <a:lnTo>
                    <a:pt x="498" y="240"/>
                  </a:lnTo>
                  <a:lnTo>
                    <a:pt x="498" y="252"/>
                  </a:lnTo>
                  <a:lnTo>
                    <a:pt x="504" y="252"/>
                  </a:lnTo>
                  <a:lnTo>
                    <a:pt x="510" y="252"/>
                  </a:lnTo>
                  <a:lnTo>
                    <a:pt x="510" y="264"/>
                  </a:lnTo>
                  <a:lnTo>
                    <a:pt x="516" y="270"/>
                  </a:lnTo>
                  <a:lnTo>
                    <a:pt x="516" y="276"/>
                  </a:lnTo>
                  <a:lnTo>
                    <a:pt x="522" y="276"/>
                  </a:lnTo>
                  <a:lnTo>
                    <a:pt x="528" y="276"/>
                  </a:lnTo>
                  <a:lnTo>
                    <a:pt x="540" y="288"/>
                  </a:lnTo>
                  <a:lnTo>
                    <a:pt x="546" y="294"/>
                  </a:lnTo>
                  <a:lnTo>
                    <a:pt x="570" y="300"/>
                  </a:lnTo>
                  <a:lnTo>
                    <a:pt x="588" y="306"/>
                  </a:lnTo>
                  <a:lnTo>
                    <a:pt x="624" y="318"/>
                  </a:lnTo>
                  <a:lnTo>
                    <a:pt x="642" y="324"/>
                  </a:lnTo>
                  <a:lnTo>
                    <a:pt x="648" y="330"/>
                  </a:lnTo>
                  <a:lnTo>
                    <a:pt x="654" y="330"/>
                  </a:lnTo>
                  <a:lnTo>
                    <a:pt x="672" y="336"/>
                  </a:lnTo>
                  <a:lnTo>
                    <a:pt x="690" y="342"/>
                  </a:lnTo>
                  <a:lnTo>
                    <a:pt x="696" y="342"/>
                  </a:lnTo>
                  <a:lnTo>
                    <a:pt x="744" y="342"/>
                  </a:lnTo>
                  <a:lnTo>
                    <a:pt x="594" y="498"/>
                  </a:lnTo>
                  <a:lnTo>
                    <a:pt x="546" y="492"/>
                  </a:lnTo>
                  <a:lnTo>
                    <a:pt x="528" y="498"/>
                  </a:lnTo>
                  <a:lnTo>
                    <a:pt x="516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498" y="522"/>
                  </a:lnTo>
                  <a:lnTo>
                    <a:pt x="492" y="522"/>
                  </a:lnTo>
                  <a:lnTo>
                    <a:pt x="492" y="528"/>
                  </a:lnTo>
                  <a:lnTo>
                    <a:pt x="486" y="528"/>
                  </a:lnTo>
                  <a:lnTo>
                    <a:pt x="480" y="528"/>
                  </a:lnTo>
                  <a:lnTo>
                    <a:pt x="474" y="534"/>
                  </a:lnTo>
                  <a:lnTo>
                    <a:pt x="468" y="534"/>
                  </a:lnTo>
                  <a:lnTo>
                    <a:pt x="462" y="534"/>
                  </a:lnTo>
                  <a:lnTo>
                    <a:pt x="456" y="534"/>
                  </a:lnTo>
                  <a:lnTo>
                    <a:pt x="450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46"/>
                  </a:lnTo>
                  <a:lnTo>
                    <a:pt x="426" y="546"/>
                  </a:lnTo>
                  <a:lnTo>
                    <a:pt x="420" y="546"/>
                  </a:lnTo>
                  <a:lnTo>
                    <a:pt x="414" y="546"/>
                  </a:lnTo>
                  <a:lnTo>
                    <a:pt x="408" y="546"/>
                  </a:lnTo>
                  <a:lnTo>
                    <a:pt x="402" y="546"/>
                  </a:lnTo>
                  <a:lnTo>
                    <a:pt x="402" y="540"/>
                  </a:lnTo>
                  <a:lnTo>
                    <a:pt x="396" y="540"/>
                  </a:lnTo>
                  <a:lnTo>
                    <a:pt x="396" y="534"/>
                  </a:lnTo>
                  <a:lnTo>
                    <a:pt x="390" y="534"/>
                  </a:lnTo>
                  <a:lnTo>
                    <a:pt x="390" y="528"/>
                  </a:lnTo>
                  <a:lnTo>
                    <a:pt x="384" y="528"/>
                  </a:lnTo>
                  <a:lnTo>
                    <a:pt x="378" y="534"/>
                  </a:lnTo>
                  <a:lnTo>
                    <a:pt x="366" y="534"/>
                  </a:lnTo>
                  <a:lnTo>
                    <a:pt x="366" y="540"/>
                  </a:lnTo>
                  <a:lnTo>
                    <a:pt x="360" y="540"/>
                  </a:lnTo>
                  <a:lnTo>
                    <a:pt x="354" y="540"/>
                  </a:lnTo>
                  <a:lnTo>
                    <a:pt x="342" y="546"/>
                  </a:lnTo>
                  <a:lnTo>
                    <a:pt x="342" y="552"/>
                  </a:lnTo>
                  <a:lnTo>
                    <a:pt x="336" y="552"/>
                  </a:lnTo>
                  <a:lnTo>
                    <a:pt x="336" y="558"/>
                  </a:lnTo>
                  <a:lnTo>
                    <a:pt x="324" y="570"/>
                  </a:lnTo>
                  <a:lnTo>
                    <a:pt x="318" y="570"/>
                  </a:lnTo>
                  <a:lnTo>
                    <a:pt x="312" y="570"/>
                  </a:lnTo>
                  <a:lnTo>
                    <a:pt x="306" y="570"/>
                  </a:lnTo>
                  <a:lnTo>
                    <a:pt x="306" y="564"/>
                  </a:lnTo>
                  <a:lnTo>
                    <a:pt x="300" y="564"/>
                  </a:lnTo>
                  <a:lnTo>
                    <a:pt x="294" y="564"/>
                  </a:lnTo>
                  <a:lnTo>
                    <a:pt x="288" y="564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64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58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198" y="528"/>
                  </a:lnTo>
                  <a:lnTo>
                    <a:pt x="198" y="522"/>
                  </a:lnTo>
                  <a:lnTo>
                    <a:pt x="192" y="522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2" y="522"/>
                  </a:lnTo>
                  <a:lnTo>
                    <a:pt x="156" y="522"/>
                  </a:lnTo>
                  <a:lnTo>
                    <a:pt x="150" y="522"/>
                  </a:lnTo>
                  <a:lnTo>
                    <a:pt x="144" y="516"/>
                  </a:lnTo>
                  <a:lnTo>
                    <a:pt x="144" y="510"/>
                  </a:lnTo>
                  <a:lnTo>
                    <a:pt x="138" y="504"/>
                  </a:lnTo>
                  <a:lnTo>
                    <a:pt x="138" y="486"/>
                  </a:lnTo>
                  <a:lnTo>
                    <a:pt x="144" y="486"/>
                  </a:lnTo>
                  <a:lnTo>
                    <a:pt x="138" y="486"/>
                  </a:lnTo>
                  <a:lnTo>
                    <a:pt x="138" y="480"/>
                  </a:lnTo>
                  <a:lnTo>
                    <a:pt x="144" y="480"/>
                  </a:lnTo>
                  <a:lnTo>
                    <a:pt x="138" y="480"/>
                  </a:lnTo>
                  <a:lnTo>
                    <a:pt x="138" y="474"/>
                  </a:lnTo>
                  <a:lnTo>
                    <a:pt x="132" y="474"/>
                  </a:lnTo>
                  <a:lnTo>
                    <a:pt x="126" y="474"/>
                  </a:lnTo>
                  <a:lnTo>
                    <a:pt x="120" y="474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02" y="462"/>
                  </a:lnTo>
                  <a:lnTo>
                    <a:pt x="102" y="456"/>
                  </a:lnTo>
                  <a:lnTo>
                    <a:pt x="96" y="450"/>
                  </a:lnTo>
                  <a:lnTo>
                    <a:pt x="96" y="444"/>
                  </a:lnTo>
                  <a:lnTo>
                    <a:pt x="96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96" y="420"/>
                  </a:lnTo>
                  <a:lnTo>
                    <a:pt x="102" y="420"/>
                  </a:lnTo>
                  <a:lnTo>
                    <a:pt x="96" y="420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54" y="384"/>
                  </a:lnTo>
                  <a:lnTo>
                    <a:pt x="48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18" y="354"/>
                  </a:lnTo>
                  <a:lnTo>
                    <a:pt x="18" y="360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2" y="324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8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24"/>
                  </a:lnTo>
                  <a:lnTo>
                    <a:pt x="36" y="324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54" y="318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54" y="282"/>
                  </a:lnTo>
                  <a:lnTo>
                    <a:pt x="54" y="270"/>
                  </a:lnTo>
                  <a:lnTo>
                    <a:pt x="54" y="264"/>
                  </a:lnTo>
                  <a:lnTo>
                    <a:pt x="54" y="258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8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6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4"/>
                  </a:lnTo>
                  <a:lnTo>
                    <a:pt x="144" y="108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56" y="114"/>
                  </a:lnTo>
                  <a:lnTo>
                    <a:pt x="156" y="108"/>
                  </a:lnTo>
                  <a:lnTo>
                    <a:pt x="156" y="102"/>
                  </a:lnTo>
                  <a:lnTo>
                    <a:pt x="156" y="96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68" y="72"/>
                  </a:lnTo>
                  <a:lnTo>
                    <a:pt x="168" y="66"/>
                  </a:lnTo>
                  <a:lnTo>
                    <a:pt x="168" y="60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4" y="4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11" name="Freeform 101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auto">
            <a:xfrm>
              <a:off x="5025" y="1403"/>
              <a:ext cx="319" cy="441"/>
            </a:xfrm>
            <a:custGeom>
              <a:avLst/>
              <a:gdLst>
                <a:gd name="T0" fmla="*/ 4 w 516"/>
                <a:gd name="T1" fmla="*/ 30 h 678"/>
                <a:gd name="T2" fmla="*/ 6 w 516"/>
                <a:gd name="T3" fmla="*/ 29 h 678"/>
                <a:gd name="T4" fmla="*/ 6 w 516"/>
                <a:gd name="T5" fmla="*/ 28 h 678"/>
                <a:gd name="T6" fmla="*/ 11 w 516"/>
                <a:gd name="T7" fmla="*/ 27 h 678"/>
                <a:gd name="T8" fmla="*/ 14 w 516"/>
                <a:gd name="T9" fmla="*/ 14 h 678"/>
                <a:gd name="T10" fmla="*/ 9 w 516"/>
                <a:gd name="T11" fmla="*/ 12 h 678"/>
                <a:gd name="T12" fmla="*/ 7 w 516"/>
                <a:gd name="T13" fmla="*/ 10 h 678"/>
                <a:gd name="T14" fmla="*/ 6 w 516"/>
                <a:gd name="T15" fmla="*/ 8 h 678"/>
                <a:gd name="T16" fmla="*/ 6 w 516"/>
                <a:gd name="T17" fmla="*/ 6 h 678"/>
                <a:gd name="T18" fmla="*/ 6 w 516"/>
                <a:gd name="T19" fmla="*/ 5 h 678"/>
                <a:gd name="T20" fmla="*/ 7 w 516"/>
                <a:gd name="T21" fmla="*/ 2 h 678"/>
                <a:gd name="T22" fmla="*/ 7 w 516"/>
                <a:gd name="T23" fmla="*/ 3 h 678"/>
                <a:gd name="T24" fmla="*/ 9 w 516"/>
                <a:gd name="T25" fmla="*/ 5 h 678"/>
                <a:gd name="T26" fmla="*/ 9 w 516"/>
                <a:gd name="T27" fmla="*/ 7 h 678"/>
                <a:gd name="T28" fmla="*/ 11 w 516"/>
                <a:gd name="T29" fmla="*/ 6 h 678"/>
                <a:gd name="T30" fmla="*/ 12 w 516"/>
                <a:gd name="T31" fmla="*/ 5 h 678"/>
                <a:gd name="T32" fmla="*/ 14 w 516"/>
                <a:gd name="T33" fmla="*/ 5 h 678"/>
                <a:gd name="T34" fmla="*/ 15 w 516"/>
                <a:gd name="T35" fmla="*/ 5 h 678"/>
                <a:gd name="T36" fmla="*/ 17 w 516"/>
                <a:gd name="T37" fmla="*/ 5 h 678"/>
                <a:gd name="T38" fmla="*/ 17 w 516"/>
                <a:gd name="T39" fmla="*/ 3 h 678"/>
                <a:gd name="T40" fmla="*/ 19 w 516"/>
                <a:gd name="T41" fmla="*/ 3 h 678"/>
                <a:gd name="T42" fmla="*/ 20 w 516"/>
                <a:gd name="T43" fmla="*/ 3 h 678"/>
                <a:gd name="T44" fmla="*/ 22 w 516"/>
                <a:gd name="T45" fmla="*/ 3 h 678"/>
                <a:gd name="T46" fmla="*/ 22 w 516"/>
                <a:gd name="T47" fmla="*/ 3 h 678"/>
                <a:gd name="T48" fmla="*/ 24 w 516"/>
                <a:gd name="T49" fmla="*/ 2 h 678"/>
                <a:gd name="T50" fmla="*/ 25 w 516"/>
                <a:gd name="T51" fmla="*/ 2 h 678"/>
                <a:gd name="T52" fmla="*/ 27 w 516"/>
                <a:gd name="T53" fmla="*/ 1 h 678"/>
                <a:gd name="T54" fmla="*/ 27 w 516"/>
                <a:gd name="T55" fmla="*/ 0 h 678"/>
                <a:gd name="T56" fmla="*/ 28 w 516"/>
                <a:gd name="T57" fmla="*/ 1 h 678"/>
                <a:gd name="T58" fmla="*/ 28 w 516"/>
                <a:gd name="T59" fmla="*/ 3 h 678"/>
                <a:gd name="T60" fmla="*/ 28 w 516"/>
                <a:gd name="T61" fmla="*/ 5 h 678"/>
                <a:gd name="T62" fmla="*/ 28 w 516"/>
                <a:gd name="T63" fmla="*/ 6 h 678"/>
                <a:gd name="T64" fmla="*/ 28 w 516"/>
                <a:gd name="T65" fmla="*/ 7 h 678"/>
                <a:gd name="T66" fmla="*/ 28 w 516"/>
                <a:gd name="T67" fmla="*/ 7 h 678"/>
                <a:gd name="T68" fmla="*/ 27 w 516"/>
                <a:gd name="T69" fmla="*/ 8 h 678"/>
                <a:gd name="T70" fmla="*/ 27 w 516"/>
                <a:gd name="T71" fmla="*/ 10 h 678"/>
                <a:gd name="T72" fmla="*/ 27 w 516"/>
                <a:gd name="T73" fmla="*/ 12 h 678"/>
                <a:gd name="T74" fmla="*/ 25 w 516"/>
                <a:gd name="T75" fmla="*/ 14 h 678"/>
                <a:gd name="T76" fmla="*/ 25 w 516"/>
                <a:gd name="T77" fmla="*/ 16 h 678"/>
                <a:gd name="T78" fmla="*/ 23 w 516"/>
                <a:gd name="T79" fmla="*/ 18 h 678"/>
                <a:gd name="T80" fmla="*/ 22 w 516"/>
                <a:gd name="T81" fmla="*/ 20 h 678"/>
                <a:gd name="T82" fmla="*/ 22 w 516"/>
                <a:gd name="T83" fmla="*/ 22 h 678"/>
                <a:gd name="T84" fmla="*/ 20 w 516"/>
                <a:gd name="T85" fmla="*/ 25 h 678"/>
                <a:gd name="T86" fmla="*/ 20 w 516"/>
                <a:gd name="T87" fmla="*/ 28 h 678"/>
                <a:gd name="T88" fmla="*/ 19 w 516"/>
                <a:gd name="T89" fmla="*/ 30 h 678"/>
                <a:gd name="T90" fmla="*/ 17 w 516"/>
                <a:gd name="T91" fmla="*/ 32 h 678"/>
                <a:gd name="T92" fmla="*/ 15 w 516"/>
                <a:gd name="T93" fmla="*/ 33 h 678"/>
                <a:gd name="T94" fmla="*/ 14 w 516"/>
                <a:gd name="T95" fmla="*/ 36 h 678"/>
                <a:gd name="T96" fmla="*/ 14 w 516"/>
                <a:gd name="T97" fmla="*/ 37 h 678"/>
                <a:gd name="T98" fmla="*/ 12 w 516"/>
                <a:gd name="T99" fmla="*/ 38 h 678"/>
                <a:gd name="T100" fmla="*/ 11 w 516"/>
                <a:gd name="T101" fmla="*/ 39 h 678"/>
                <a:gd name="T102" fmla="*/ 9 w 516"/>
                <a:gd name="T103" fmla="*/ 40 h 678"/>
                <a:gd name="T104" fmla="*/ 8 w 516"/>
                <a:gd name="T105" fmla="*/ 42 h 678"/>
                <a:gd name="T106" fmla="*/ 7 w 516"/>
                <a:gd name="T107" fmla="*/ 43 h 678"/>
                <a:gd name="T108" fmla="*/ 6 w 516"/>
                <a:gd name="T109" fmla="*/ 46 h 678"/>
                <a:gd name="T110" fmla="*/ 4 w 516"/>
                <a:gd name="T111" fmla="*/ 47 h 678"/>
                <a:gd name="T112" fmla="*/ 4 w 516"/>
                <a:gd name="T113" fmla="*/ 48 h 678"/>
                <a:gd name="T114" fmla="*/ 2 w 516"/>
                <a:gd name="T115" fmla="*/ 48 h 678"/>
                <a:gd name="T116" fmla="*/ 2 w 516"/>
                <a:gd name="T117" fmla="*/ 49 h 678"/>
                <a:gd name="T118" fmla="*/ 2 w 516"/>
                <a:gd name="T119" fmla="*/ 50 h 678"/>
                <a:gd name="T120" fmla="*/ 2 w 516"/>
                <a:gd name="T121" fmla="*/ 49 h 678"/>
                <a:gd name="T122" fmla="*/ 0 w 516"/>
                <a:gd name="T123" fmla="*/ 48 h 678"/>
                <a:gd name="T124" fmla="*/ 0 w 516"/>
                <a:gd name="T125" fmla="*/ 38 h 6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16" h="678">
                  <a:moveTo>
                    <a:pt x="42" y="402"/>
                  </a:moveTo>
                  <a:lnTo>
                    <a:pt x="48" y="402"/>
                  </a:lnTo>
                  <a:lnTo>
                    <a:pt x="48" y="396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72" y="390"/>
                  </a:lnTo>
                  <a:lnTo>
                    <a:pt x="78" y="390"/>
                  </a:lnTo>
                  <a:lnTo>
                    <a:pt x="84" y="384"/>
                  </a:lnTo>
                  <a:lnTo>
                    <a:pt x="90" y="384"/>
                  </a:lnTo>
                  <a:lnTo>
                    <a:pt x="96" y="384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2" y="372"/>
                  </a:lnTo>
                  <a:lnTo>
                    <a:pt x="102" y="366"/>
                  </a:lnTo>
                  <a:lnTo>
                    <a:pt x="114" y="366"/>
                  </a:lnTo>
                  <a:lnTo>
                    <a:pt x="120" y="360"/>
                  </a:lnTo>
                  <a:lnTo>
                    <a:pt x="132" y="354"/>
                  </a:lnTo>
                  <a:lnTo>
                    <a:pt x="150" y="348"/>
                  </a:lnTo>
                  <a:lnTo>
                    <a:pt x="198" y="354"/>
                  </a:lnTo>
                  <a:lnTo>
                    <a:pt x="348" y="198"/>
                  </a:lnTo>
                  <a:lnTo>
                    <a:pt x="300" y="198"/>
                  </a:lnTo>
                  <a:lnTo>
                    <a:pt x="294" y="198"/>
                  </a:lnTo>
                  <a:lnTo>
                    <a:pt x="276" y="192"/>
                  </a:lnTo>
                  <a:lnTo>
                    <a:pt x="258" y="186"/>
                  </a:lnTo>
                  <a:lnTo>
                    <a:pt x="252" y="186"/>
                  </a:lnTo>
                  <a:lnTo>
                    <a:pt x="246" y="180"/>
                  </a:lnTo>
                  <a:lnTo>
                    <a:pt x="228" y="174"/>
                  </a:lnTo>
                  <a:lnTo>
                    <a:pt x="192" y="162"/>
                  </a:lnTo>
                  <a:lnTo>
                    <a:pt x="174" y="156"/>
                  </a:lnTo>
                  <a:lnTo>
                    <a:pt x="150" y="150"/>
                  </a:lnTo>
                  <a:lnTo>
                    <a:pt x="144" y="144"/>
                  </a:lnTo>
                  <a:lnTo>
                    <a:pt x="132" y="132"/>
                  </a:lnTo>
                  <a:lnTo>
                    <a:pt x="126" y="132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14" y="120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02" y="108"/>
                  </a:lnTo>
                  <a:lnTo>
                    <a:pt x="102" y="96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84"/>
                  </a:lnTo>
                  <a:lnTo>
                    <a:pt x="90" y="78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90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102" y="48"/>
                  </a:lnTo>
                  <a:lnTo>
                    <a:pt x="114" y="30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44" y="60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2"/>
                  </a:lnTo>
                  <a:lnTo>
                    <a:pt x="162" y="78"/>
                  </a:lnTo>
                  <a:lnTo>
                    <a:pt x="168" y="78"/>
                  </a:lnTo>
                  <a:lnTo>
                    <a:pt x="168" y="84"/>
                  </a:lnTo>
                  <a:lnTo>
                    <a:pt x="174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28" y="60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60"/>
                  </a:lnTo>
                  <a:lnTo>
                    <a:pt x="258" y="60"/>
                  </a:lnTo>
                  <a:lnTo>
                    <a:pt x="264" y="66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8" y="60"/>
                  </a:lnTo>
                  <a:lnTo>
                    <a:pt x="294" y="60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42"/>
                  </a:lnTo>
                  <a:lnTo>
                    <a:pt x="324" y="42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36" y="42"/>
                  </a:lnTo>
                  <a:lnTo>
                    <a:pt x="342" y="48"/>
                  </a:lnTo>
                  <a:lnTo>
                    <a:pt x="342" y="42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36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6" y="42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44" y="24"/>
                  </a:lnTo>
                  <a:lnTo>
                    <a:pt x="450" y="24"/>
                  </a:lnTo>
                  <a:lnTo>
                    <a:pt x="456" y="24"/>
                  </a:lnTo>
                  <a:lnTo>
                    <a:pt x="462" y="24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6"/>
                  </a:lnTo>
                  <a:lnTo>
                    <a:pt x="486" y="0"/>
                  </a:lnTo>
                  <a:lnTo>
                    <a:pt x="492" y="6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10" y="18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04" y="48"/>
                  </a:lnTo>
                  <a:lnTo>
                    <a:pt x="504" y="54"/>
                  </a:lnTo>
                  <a:lnTo>
                    <a:pt x="504" y="66"/>
                  </a:lnTo>
                  <a:lnTo>
                    <a:pt x="504" y="72"/>
                  </a:lnTo>
                  <a:lnTo>
                    <a:pt x="504" y="78"/>
                  </a:lnTo>
                  <a:lnTo>
                    <a:pt x="498" y="78"/>
                  </a:lnTo>
                  <a:lnTo>
                    <a:pt x="504" y="78"/>
                  </a:lnTo>
                  <a:lnTo>
                    <a:pt x="510" y="78"/>
                  </a:lnTo>
                  <a:lnTo>
                    <a:pt x="504" y="78"/>
                  </a:lnTo>
                  <a:lnTo>
                    <a:pt x="504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6" y="78"/>
                  </a:lnTo>
                  <a:lnTo>
                    <a:pt x="516" y="84"/>
                  </a:lnTo>
                  <a:lnTo>
                    <a:pt x="510" y="84"/>
                  </a:lnTo>
                  <a:lnTo>
                    <a:pt x="510" y="78"/>
                  </a:lnTo>
                  <a:lnTo>
                    <a:pt x="498" y="78"/>
                  </a:lnTo>
                  <a:lnTo>
                    <a:pt x="498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2" y="108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26"/>
                  </a:lnTo>
                  <a:lnTo>
                    <a:pt x="492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80" y="138"/>
                  </a:lnTo>
                  <a:lnTo>
                    <a:pt x="480" y="144"/>
                  </a:lnTo>
                  <a:lnTo>
                    <a:pt x="480" y="150"/>
                  </a:lnTo>
                  <a:lnTo>
                    <a:pt x="474" y="150"/>
                  </a:lnTo>
                  <a:lnTo>
                    <a:pt x="468" y="156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62" y="168"/>
                  </a:lnTo>
                  <a:lnTo>
                    <a:pt x="462" y="174"/>
                  </a:lnTo>
                  <a:lnTo>
                    <a:pt x="456" y="180"/>
                  </a:lnTo>
                  <a:lnTo>
                    <a:pt x="456" y="186"/>
                  </a:lnTo>
                  <a:lnTo>
                    <a:pt x="456" y="192"/>
                  </a:lnTo>
                  <a:lnTo>
                    <a:pt x="450" y="192"/>
                  </a:lnTo>
                  <a:lnTo>
                    <a:pt x="444" y="198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38" y="216"/>
                  </a:lnTo>
                  <a:lnTo>
                    <a:pt x="438" y="222"/>
                  </a:lnTo>
                  <a:lnTo>
                    <a:pt x="432" y="228"/>
                  </a:lnTo>
                  <a:lnTo>
                    <a:pt x="426" y="234"/>
                  </a:lnTo>
                  <a:lnTo>
                    <a:pt x="420" y="240"/>
                  </a:lnTo>
                  <a:lnTo>
                    <a:pt x="420" y="246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64"/>
                  </a:lnTo>
                  <a:lnTo>
                    <a:pt x="402" y="270"/>
                  </a:lnTo>
                  <a:lnTo>
                    <a:pt x="402" y="276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396" y="294"/>
                  </a:lnTo>
                  <a:lnTo>
                    <a:pt x="390" y="312"/>
                  </a:lnTo>
                  <a:lnTo>
                    <a:pt x="384" y="318"/>
                  </a:lnTo>
                  <a:lnTo>
                    <a:pt x="378" y="324"/>
                  </a:lnTo>
                  <a:lnTo>
                    <a:pt x="378" y="330"/>
                  </a:lnTo>
                  <a:lnTo>
                    <a:pt x="372" y="330"/>
                  </a:lnTo>
                  <a:lnTo>
                    <a:pt x="366" y="348"/>
                  </a:lnTo>
                  <a:lnTo>
                    <a:pt x="360" y="354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48" y="372"/>
                  </a:lnTo>
                  <a:lnTo>
                    <a:pt x="348" y="378"/>
                  </a:lnTo>
                  <a:lnTo>
                    <a:pt x="342" y="378"/>
                  </a:lnTo>
                  <a:lnTo>
                    <a:pt x="336" y="390"/>
                  </a:lnTo>
                  <a:lnTo>
                    <a:pt x="330" y="390"/>
                  </a:lnTo>
                  <a:lnTo>
                    <a:pt x="330" y="396"/>
                  </a:lnTo>
                  <a:lnTo>
                    <a:pt x="318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0" y="426"/>
                  </a:lnTo>
                  <a:lnTo>
                    <a:pt x="294" y="432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82" y="444"/>
                  </a:lnTo>
                  <a:lnTo>
                    <a:pt x="276" y="450"/>
                  </a:lnTo>
                  <a:lnTo>
                    <a:pt x="270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68"/>
                  </a:lnTo>
                  <a:lnTo>
                    <a:pt x="252" y="474"/>
                  </a:lnTo>
                  <a:lnTo>
                    <a:pt x="246" y="474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8" y="492"/>
                  </a:lnTo>
                  <a:lnTo>
                    <a:pt x="222" y="492"/>
                  </a:lnTo>
                  <a:lnTo>
                    <a:pt x="216" y="498"/>
                  </a:lnTo>
                  <a:lnTo>
                    <a:pt x="210" y="498"/>
                  </a:lnTo>
                  <a:lnTo>
                    <a:pt x="204" y="504"/>
                  </a:lnTo>
                  <a:lnTo>
                    <a:pt x="198" y="504"/>
                  </a:lnTo>
                  <a:lnTo>
                    <a:pt x="192" y="510"/>
                  </a:lnTo>
                  <a:lnTo>
                    <a:pt x="186" y="510"/>
                  </a:lnTo>
                  <a:lnTo>
                    <a:pt x="186" y="516"/>
                  </a:lnTo>
                  <a:lnTo>
                    <a:pt x="180" y="516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8" y="528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46"/>
                  </a:lnTo>
                  <a:lnTo>
                    <a:pt x="144" y="546"/>
                  </a:lnTo>
                  <a:lnTo>
                    <a:pt x="144" y="552"/>
                  </a:lnTo>
                  <a:lnTo>
                    <a:pt x="138" y="552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6" y="564"/>
                  </a:lnTo>
                  <a:lnTo>
                    <a:pt x="120" y="570"/>
                  </a:lnTo>
                  <a:lnTo>
                    <a:pt x="114" y="576"/>
                  </a:lnTo>
                  <a:lnTo>
                    <a:pt x="108" y="582"/>
                  </a:lnTo>
                  <a:lnTo>
                    <a:pt x="102" y="588"/>
                  </a:lnTo>
                  <a:lnTo>
                    <a:pt x="96" y="600"/>
                  </a:lnTo>
                  <a:lnTo>
                    <a:pt x="90" y="606"/>
                  </a:lnTo>
                  <a:lnTo>
                    <a:pt x="84" y="612"/>
                  </a:lnTo>
                  <a:lnTo>
                    <a:pt x="78" y="612"/>
                  </a:lnTo>
                  <a:lnTo>
                    <a:pt x="78" y="618"/>
                  </a:lnTo>
                  <a:lnTo>
                    <a:pt x="72" y="618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30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36"/>
                  </a:lnTo>
                  <a:lnTo>
                    <a:pt x="48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48"/>
                  </a:lnTo>
                  <a:lnTo>
                    <a:pt x="48" y="648"/>
                  </a:lnTo>
                  <a:lnTo>
                    <a:pt x="48" y="642"/>
                  </a:lnTo>
                  <a:lnTo>
                    <a:pt x="48" y="648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48" y="654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36" y="654"/>
                  </a:lnTo>
                  <a:lnTo>
                    <a:pt x="36" y="660"/>
                  </a:lnTo>
                  <a:lnTo>
                    <a:pt x="36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36" y="666"/>
                  </a:lnTo>
                  <a:lnTo>
                    <a:pt x="30" y="672"/>
                  </a:lnTo>
                  <a:lnTo>
                    <a:pt x="30" y="678"/>
                  </a:lnTo>
                  <a:lnTo>
                    <a:pt x="0" y="636"/>
                  </a:lnTo>
                  <a:lnTo>
                    <a:pt x="0" y="618"/>
                  </a:lnTo>
                  <a:lnTo>
                    <a:pt x="0" y="600"/>
                  </a:lnTo>
                  <a:lnTo>
                    <a:pt x="0" y="594"/>
                  </a:lnTo>
                  <a:lnTo>
                    <a:pt x="0" y="504"/>
                  </a:lnTo>
                  <a:lnTo>
                    <a:pt x="0" y="498"/>
                  </a:lnTo>
                  <a:lnTo>
                    <a:pt x="0" y="456"/>
                  </a:lnTo>
                  <a:lnTo>
                    <a:pt x="18" y="438"/>
                  </a:lnTo>
                  <a:lnTo>
                    <a:pt x="36" y="414"/>
                  </a:lnTo>
                  <a:lnTo>
                    <a:pt x="42" y="40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12" name="Freeform 102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auto">
            <a:xfrm>
              <a:off x="5045" y="1380"/>
              <a:ext cx="54" cy="60"/>
            </a:xfrm>
            <a:custGeom>
              <a:avLst/>
              <a:gdLst>
                <a:gd name="T0" fmla="*/ 3 w 84"/>
                <a:gd name="T1" fmla="*/ 1 h 90"/>
                <a:gd name="T2" fmla="*/ 4 w 84"/>
                <a:gd name="T3" fmla="*/ 1 h 90"/>
                <a:gd name="T4" fmla="*/ 4 w 84"/>
                <a:gd name="T5" fmla="*/ 1 h 90"/>
                <a:gd name="T6" fmla="*/ 5 w 84"/>
                <a:gd name="T7" fmla="*/ 1 h 90"/>
                <a:gd name="T8" fmla="*/ 5 w 84"/>
                <a:gd name="T9" fmla="*/ 1 h 90"/>
                <a:gd name="T10" fmla="*/ 6 w 84"/>
                <a:gd name="T11" fmla="*/ 1 h 90"/>
                <a:gd name="T12" fmla="*/ 6 w 84"/>
                <a:gd name="T13" fmla="*/ 2 h 90"/>
                <a:gd name="T14" fmla="*/ 6 w 84"/>
                <a:gd name="T15" fmla="*/ 3 h 90"/>
                <a:gd name="T16" fmla="*/ 6 w 84"/>
                <a:gd name="T17" fmla="*/ 4 h 90"/>
                <a:gd name="T18" fmla="*/ 5 w 84"/>
                <a:gd name="T19" fmla="*/ 4 h 90"/>
                <a:gd name="T20" fmla="*/ 4 w 84"/>
                <a:gd name="T21" fmla="*/ 4 h 90"/>
                <a:gd name="T22" fmla="*/ 4 w 84"/>
                <a:gd name="T23" fmla="*/ 5 h 90"/>
                <a:gd name="T24" fmla="*/ 3 w 84"/>
                <a:gd name="T25" fmla="*/ 5 h 90"/>
                <a:gd name="T26" fmla="*/ 3 w 84"/>
                <a:gd name="T27" fmla="*/ 6 h 90"/>
                <a:gd name="T28" fmla="*/ 3 w 84"/>
                <a:gd name="T29" fmla="*/ 5 h 90"/>
                <a:gd name="T30" fmla="*/ 4 w 84"/>
                <a:gd name="T31" fmla="*/ 5 h 90"/>
                <a:gd name="T32" fmla="*/ 5 w 84"/>
                <a:gd name="T33" fmla="*/ 5 h 90"/>
                <a:gd name="T34" fmla="*/ 5 w 84"/>
                <a:gd name="T35" fmla="*/ 5 h 90"/>
                <a:gd name="T36" fmla="*/ 6 w 84"/>
                <a:gd name="T37" fmla="*/ 6 h 90"/>
                <a:gd name="T38" fmla="*/ 4 w 84"/>
                <a:gd name="T39" fmla="*/ 7 h 90"/>
                <a:gd name="T40" fmla="*/ 4 w 84"/>
                <a:gd name="T41" fmla="*/ 8 h 90"/>
                <a:gd name="T42" fmla="*/ 3 w 84"/>
                <a:gd name="T43" fmla="*/ 7 h 90"/>
                <a:gd name="T44" fmla="*/ 3 w 84"/>
                <a:gd name="T45" fmla="*/ 7 h 90"/>
                <a:gd name="T46" fmla="*/ 2 w 84"/>
                <a:gd name="T47" fmla="*/ 8 h 90"/>
                <a:gd name="T48" fmla="*/ 1 w 84"/>
                <a:gd name="T49" fmla="*/ 8 h 90"/>
                <a:gd name="T50" fmla="*/ 1 w 84"/>
                <a:gd name="T51" fmla="*/ 8 h 90"/>
                <a:gd name="T52" fmla="*/ 1 w 84"/>
                <a:gd name="T53" fmla="*/ 6 h 90"/>
                <a:gd name="T54" fmla="*/ 0 w 84"/>
                <a:gd name="T55" fmla="*/ 5 h 90"/>
                <a:gd name="T56" fmla="*/ 1 w 84"/>
                <a:gd name="T57" fmla="*/ 5 h 90"/>
                <a:gd name="T58" fmla="*/ 1 w 84"/>
                <a:gd name="T59" fmla="*/ 4 h 90"/>
                <a:gd name="T60" fmla="*/ 2 w 84"/>
                <a:gd name="T61" fmla="*/ 3 h 90"/>
                <a:gd name="T62" fmla="*/ 2 w 84"/>
                <a:gd name="T63" fmla="*/ 2 h 90"/>
                <a:gd name="T64" fmla="*/ 2 w 84"/>
                <a:gd name="T65" fmla="*/ 1 h 9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84" h="90">
                  <a:moveTo>
                    <a:pt x="36" y="12"/>
                  </a:moveTo>
                  <a:lnTo>
                    <a:pt x="42" y="12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78" y="66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2"/>
                  </a:lnTo>
                  <a:close/>
                </a:path>
              </a:pathLst>
            </a:custGeom>
            <a:solidFill>
              <a:srgbClr val="E2E2E2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grpSp>
          <p:nvGrpSpPr>
            <p:cNvPr id="14413" name="Group 103"/>
            <p:cNvGrpSpPr>
              <a:grpSpLocks noChangeAspect="1"/>
            </p:cNvGrpSpPr>
            <p:nvPr>
              <p:custDataLst>
                <p:tags r:id="rId44"/>
              </p:custDataLst>
            </p:nvPr>
          </p:nvGrpSpPr>
          <p:grpSpPr bwMode="auto">
            <a:xfrm>
              <a:off x="2992" y="987"/>
              <a:ext cx="1264" cy="664"/>
              <a:chOff x="1195" y="1446"/>
              <a:chExt cx="1654" cy="827"/>
            </a:xfrm>
          </p:grpSpPr>
          <p:sp>
            <p:nvSpPr>
              <p:cNvPr id="14418" name="Freeform 104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1718" y="1446"/>
                <a:ext cx="663" cy="590"/>
              </a:xfrm>
              <a:custGeom>
                <a:avLst/>
                <a:gdLst>
                  <a:gd name="T0" fmla="*/ 6 w 822"/>
                  <a:gd name="T1" fmla="*/ 135 h 732"/>
                  <a:gd name="T2" fmla="*/ 10 w 822"/>
                  <a:gd name="T3" fmla="*/ 127 h 732"/>
                  <a:gd name="T4" fmla="*/ 19 w 822"/>
                  <a:gd name="T5" fmla="*/ 134 h 732"/>
                  <a:gd name="T6" fmla="*/ 23 w 822"/>
                  <a:gd name="T7" fmla="*/ 130 h 732"/>
                  <a:gd name="T8" fmla="*/ 35 w 822"/>
                  <a:gd name="T9" fmla="*/ 130 h 732"/>
                  <a:gd name="T10" fmla="*/ 52 w 822"/>
                  <a:gd name="T11" fmla="*/ 128 h 732"/>
                  <a:gd name="T12" fmla="*/ 85 w 822"/>
                  <a:gd name="T13" fmla="*/ 128 h 732"/>
                  <a:gd name="T14" fmla="*/ 90 w 822"/>
                  <a:gd name="T15" fmla="*/ 97 h 732"/>
                  <a:gd name="T16" fmla="*/ 85 w 822"/>
                  <a:gd name="T17" fmla="*/ 62 h 732"/>
                  <a:gd name="T18" fmla="*/ 81 w 822"/>
                  <a:gd name="T19" fmla="*/ 22 h 732"/>
                  <a:gd name="T20" fmla="*/ 114 w 822"/>
                  <a:gd name="T21" fmla="*/ 6 h 732"/>
                  <a:gd name="T22" fmla="*/ 169 w 822"/>
                  <a:gd name="T23" fmla="*/ 43 h 732"/>
                  <a:gd name="T24" fmla="*/ 190 w 822"/>
                  <a:gd name="T25" fmla="*/ 59 h 732"/>
                  <a:gd name="T26" fmla="*/ 194 w 822"/>
                  <a:gd name="T27" fmla="*/ 64 h 732"/>
                  <a:gd name="T28" fmla="*/ 202 w 822"/>
                  <a:gd name="T29" fmla="*/ 66 h 732"/>
                  <a:gd name="T30" fmla="*/ 211 w 822"/>
                  <a:gd name="T31" fmla="*/ 69 h 732"/>
                  <a:gd name="T32" fmla="*/ 211 w 822"/>
                  <a:gd name="T33" fmla="*/ 75 h 732"/>
                  <a:gd name="T34" fmla="*/ 227 w 822"/>
                  <a:gd name="T35" fmla="*/ 79 h 732"/>
                  <a:gd name="T36" fmla="*/ 221 w 822"/>
                  <a:gd name="T37" fmla="*/ 126 h 732"/>
                  <a:gd name="T38" fmla="*/ 216 w 822"/>
                  <a:gd name="T39" fmla="*/ 131 h 732"/>
                  <a:gd name="T40" fmla="*/ 178 w 822"/>
                  <a:gd name="T41" fmla="*/ 136 h 732"/>
                  <a:gd name="T42" fmla="*/ 170 w 822"/>
                  <a:gd name="T43" fmla="*/ 136 h 732"/>
                  <a:gd name="T44" fmla="*/ 153 w 822"/>
                  <a:gd name="T45" fmla="*/ 139 h 732"/>
                  <a:gd name="T46" fmla="*/ 140 w 822"/>
                  <a:gd name="T47" fmla="*/ 147 h 732"/>
                  <a:gd name="T48" fmla="*/ 129 w 822"/>
                  <a:gd name="T49" fmla="*/ 153 h 732"/>
                  <a:gd name="T50" fmla="*/ 123 w 822"/>
                  <a:gd name="T51" fmla="*/ 153 h 732"/>
                  <a:gd name="T52" fmla="*/ 121 w 822"/>
                  <a:gd name="T53" fmla="*/ 161 h 732"/>
                  <a:gd name="T54" fmla="*/ 113 w 822"/>
                  <a:gd name="T55" fmla="*/ 158 h 732"/>
                  <a:gd name="T56" fmla="*/ 109 w 822"/>
                  <a:gd name="T57" fmla="*/ 163 h 732"/>
                  <a:gd name="T58" fmla="*/ 106 w 822"/>
                  <a:gd name="T59" fmla="*/ 168 h 732"/>
                  <a:gd name="T60" fmla="*/ 104 w 822"/>
                  <a:gd name="T61" fmla="*/ 174 h 732"/>
                  <a:gd name="T62" fmla="*/ 96 w 822"/>
                  <a:gd name="T63" fmla="*/ 177 h 732"/>
                  <a:gd name="T64" fmla="*/ 96 w 822"/>
                  <a:gd name="T65" fmla="*/ 181 h 732"/>
                  <a:gd name="T66" fmla="*/ 96 w 822"/>
                  <a:gd name="T67" fmla="*/ 185 h 732"/>
                  <a:gd name="T68" fmla="*/ 94 w 822"/>
                  <a:gd name="T69" fmla="*/ 193 h 732"/>
                  <a:gd name="T70" fmla="*/ 87 w 822"/>
                  <a:gd name="T71" fmla="*/ 197 h 732"/>
                  <a:gd name="T72" fmla="*/ 85 w 822"/>
                  <a:gd name="T73" fmla="*/ 199 h 732"/>
                  <a:gd name="T74" fmla="*/ 82 w 822"/>
                  <a:gd name="T75" fmla="*/ 196 h 732"/>
                  <a:gd name="T76" fmla="*/ 81 w 822"/>
                  <a:gd name="T77" fmla="*/ 196 h 732"/>
                  <a:gd name="T78" fmla="*/ 77 w 822"/>
                  <a:gd name="T79" fmla="*/ 197 h 732"/>
                  <a:gd name="T80" fmla="*/ 68 w 822"/>
                  <a:gd name="T81" fmla="*/ 202 h 732"/>
                  <a:gd name="T82" fmla="*/ 62 w 822"/>
                  <a:gd name="T83" fmla="*/ 197 h 732"/>
                  <a:gd name="T84" fmla="*/ 56 w 822"/>
                  <a:gd name="T85" fmla="*/ 199 h 732"/>
                  <a:gd name="T86" fmla="*/ 55 w 822"/>
                  <a:gd name="T87" fmla="*/ 189 h 732"/>
                  <a:gd name="T88" fmla="*/ 52 w 822"/>
                  <a:gd name="T89" fmla="*/ 188 h 732"/>
                  <a:gd name="T90" fmla="*/ 49 w 822"/>
                  <a:gd name="T91" fmla="*/ 181 h 732"/>
                  <a:gd name="T92" fmla="*/ 47 w 822"/>
                  <a:gd name="T93" fmla="*/ 174 h 732"/>
                  <a:gd name="T94" fmla="*/ 40 w 822"/>
                  <a:gd name="T95" fmla="*/ 169 h 732"/>
                  <a:gd name="T96" fmla="*/ 39 w 822"/>
                  <a:gd name="T97" fmla="*/ 172 h 732"/>
                  <a:gd name="T98" fmla="*/ 33 w 822"/>
                  <a:gd name="T99" fmla="*/ 174 h 732"/>
                  <a:gd name="T100" fmla="*/ 26 w 822"/>
                  <a:gd name="T101" fmla="*/ 174 h 732"/>
                  <a:gd name="T102" fmla="*/ 20 w 822"/>
                  <a:gd name="T103" fmla="*/ 176 h 732"/>
                  <a:gd name="T104" fmla="*/ 15 w 822"/>
                  <a:gd name="T105" fmla="*/ 174 h 732"/>
                  <a:gd name="T106" fmla="*/ 12 w 822"/>
                  <a:gd name="T107" fmla="*/ 171 h 732"/>
                  <a:gd name="T108" fmla="*/ 12 w 822"/>
                  <a:gd name="T109" fmla="*/ 163 h 732"/>
                  <a:gd name="T110" fmla="*/ 5 w 822"/>
                  <a:gd name="T111" fmla="*/ 158 h 732"/>
                  <a:gd name="T112" fmla="*/ 3 w 822"/>
                  <a:gd name="T113" fmla="*/ 148 h 732"/>
                  <a:gd name="T114" fmla="*/ 2 w 822"/>
                  <a:gd name="T115" fmla="*/ 142 h 73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822" h="732">
                    <a:moveTo>
                      <a:pt x="0" y="504"/>
                    </a:moveTo>
                    <a:lnTo>
                      <a:pt x="6" y="504"/>
                    </a:lnTo>
                    <a:lnTo>
                      <a:pt x="12" y="510"/>
                    </a:lnTo>
                    <a:lnTo>
                      <a:pt x="12" y="504"/>
                    </a:lnTo>
                    <a:lnTo>
                      <a:pt x="18" y="504"/>
                    </a:lnTo>
                    <a:lnTo>
                      <a:pt x="24" y="498"/>
                    </a:lnTo>
                    <a:lnTo>
                      <a:pt x="24" y="492"/>
                    </a:lnTo>
                    <a:lnTo>
                      <a:pt x="24" y="486"/>
                    </a:lnTo>
                    <a:lnTo>
                      <a:pt x="24" y="480"/>
                    </a:lnTo>
                    <a:lnTo>
                      <a:pt x="24" y="474"/>
                    </a:lnTo>
                    <a:lnTo>
                      <a:pt x="24" y="468"/>
                    </a:lnTo>
                    <a:lnTo>
                      <a:pt x="30" y="468"/>
                    </a:lnTo>
                    <a:lnTo>
                      <a:pt x="36" y="468"/>
                    </a:lnTo>
                    <a:lnTo>
                      <a:pt x="36" y="462"/>
                    </a:lnTo>
                    <a:lnTo>
                      <a:pt x="42" y="462"/>
                    </a:lnTo>
                    <a:lnTo>
                      <a:pt x="48" y="468"/>
                    </a:lnTo>
                    <a:lnTo>
                      <a:pt x="48" y="474"/>
                    </a:lnTo>
                    <a:lnTo>
                      <a:pt x="54" y="474"/>
                    </a:lnTo>
                    <a:lnTo>
                      <a:pt x="60" y="480"/>
                    </a:lnTo>
                    <a:lnTo>
                      <a:pt x="66" y="480"/>
                    </a:lnTo>
                    <a:lnTo>
                      <a:pt x="66" y="486"/>
                    </a:lnTo>
                    <a:lnTo>
                      <a:pt x="66" y="492"/>
                    </a:lnTo>
                    <a:lnTo>
                      <a:pt x="66" y="486"/>
                    </a:lnTo>
                    <a:lnTo>
                      <a:pt x="72" y="486"/>
                    </a:lnTo>
                    <a:lnTo>
                      <a:pt x="72" y="480"/>
                    </a:lnTo>
                    <a:lnTo>
                      <a:pt x="78" y="480"/>
                    </a:lnTo>
                    <a:lnTo>
                      <a:pt x="78" y="474"/>
                    </a:lnTo>
                    <a:lnTo>
                      <a:pt x="84" y="474"/>
                    </a:lnTo>
                    <a:lnTo>
                      <a:pt x="90" y="474"/>
                    </a:lnTo>
                    <a:lnTo>
                      <a:pt x="96" y="474"/>
                    </a:lnTo>
                    <a:lnTo>
                      <a:pt x="102" y="474"/>
                    </a:lnTo>
                    <a:lnTo>
                      <a:pt x="108" y="474"/>
                    </a:lnTo>
                    <a:lnTo>
                      <a:pt x="114" y="474"/>
                    </a:lnTo>
                    <a:lnTo>
                      <a:pt x="120" y="474"/>
                    </a:lnTo>
                    <a:lnTo>
                      <a:pt x="126" y="474"/>
                    </a:lnTo>
                    <a:lnTo>
                      <a:pt x="144" y="474"/>
                    </a:lnTo>
                    <a:lnTo>
                      <a:pt x="138" y="462"/>
                    </a:lnTo>
                    <a:lnTo>
                      <a:pt x="144" y="462"/>
                    </a:lnTo>
                    <a:lnTo>
                      <a:pt x="150" y="462"/>
                    </a:lnTo>
                    <a:lnTo>
                      <a:pt x="144" y="468"/>
                    </a:lnTo>
                    <a:lnTo>
                      <a:pt x="180" y="468"/>
                    </a:lnTo>
                    <a:lnTo>
                      <a:pt x="192" y="468"/>
                    </a:lnTo>
                    <a:lnTo>
                      <a:pt x="198" y="468"/>
                    </a:lnTo>
                    <a:lnTo>
                      <a:pt x="216" y="468"/>
                    </a:lnTo>
                    <a:lnTo>
                      <a:pt x="228" y="468"/>
                    </a:lnTo>
                    <a:lnTo>
                      <a:pt x="252" y="468"/>
                    </a:lnTo>
                    <a:lnTo>
                      <a:pt x="258" y="468"/>
                    </a:lnTo>
                    <a:lnTo>
                      <a:pt x="276" y="468"/>
                    </a:lnTo>
                    <a:lnTo>
                      <a:pt x="312" y="468"/>
                    </a:lnTo>
                    <a:lnTo>
                      <a:pt x="330" y="468"/>
                    </a:lnTo>
                    <a:lnTo>
                      <a:pt x="336" y="468"/>
                    </a:lnTo>
                    <a:lnTo>
                      <a:pt x="348" y="426"/>
                    </a:lnTo>
                    <a:lnTo>
                      <a:pt x="330" y="420"/>
                    </a:lnTo>
                    <a:lnTo>
                      <a:pt x="330" y="396"/>
                    </a:lnTo>
                    <a:lnTo>
                      <a:pt x="324" y="372"/>
                    </a:lnTo>
                    <a:lnTo>
                      <a:pt x="324" y="354"/>
                    </a:lnTo>
                    <a:lnTo>
                      <a:pt x="324" y="348"/>
                    </a:lnTo>
                    <a:lnTo>
                      <a:pt x="318" y="282"/>
                    </a:lnTo>
                    <a:lnTo>
                      <a:pt x="312" y="270"/>
                    </a:lnTo>
                    <a:lnTo>
                      <a:pt x="312" y="252"/>
                    </a:lnTo>
                    <a:lnTo>
                      <a:pt x="312" y="246"/>
                    </a:lnTo>
                    <a:lnTo>
                      <a:pt x="312" y="240"/>
                    </a:lnTo>
                    <a:lnTo>
                      <a:pt x="312" y="228"/>
                    </a:lnTo>
                    <a:lnTo>
                      <a:pt x="306" y="192"/>
                    </a:lnTo>
                    <a:lnTo>
                      <a:pt x="300" y="138"/>
                    </a:lnTo>
                    <a:lnTo>
                      <a:pt x="300" y="114"/>
                    </a:lnTo>
                    <a:lnTo>
                      <a:pt x="294" y="96"/>
                    </a:lnTo>
                    <a:lnTo>
                      <a:pt x="294" y="90"/>
                    </a:lnTo>
                    <a:lnTo>
                      <a:pt x="294" y="84"/>
                    </a:lnTo>
                    <a:lnTo>
                      <a:pt x="294" y="78"/>
                    </a:lnTo>
                    <a:lnTo>
                      <a:pt x="294" y="66"/>
                    </a:lnTo>
                    <a:lnTo>
                      <a:pt x="288" y="48"/>
                    </a:lnTo>
                    <a:lnTo>
                      <a:pt x="282" y="6"/>
                    </a:lnTo>
                    <a:lnTo>
                      <a:pt x="282" y="0"/>
                    </a:lnTo>
                    <a:lnTo>
                      <a:pt x="360" y="0"/>
                    </a:lnTo>
                    <a:lnTo>
                      <a:pt x="372" y="0"/>
                    </a:lnTo>
                    <a:lnTo>
                      <a:pt x="414" y="24"/>
                    </a:lnTo>
                    <a:lnTo>
                      <a:pt x="438" y="36"/>
                    </a:lnTo>
                    <a:lnTo>
                      <a:pt x="444" y="48"/>
                    </a:lnTo>
                    <a:lnTo>
                      <a:pt x="462" y="54"/>
                    </a:lnTo>
                    <a:lnTo>
                      <a:pt x="528" y="96"/>
                    </a:lnTo>
                    <a:lnTo>
                      <a:pt x="600" y="144"/>
                    </a:lnTo>
                    <a:lnTo>
                      <a:pt x="612" y="150"/>
                    </a:lnTo>
                    <a:lnTo>
                      <a:pt x="612" y="156"/>
                    </a:lnTo>
                    <a:lnTo>
                      <a:pt x="666" y="192"/>
                    </a:lnTo>
                    <a:lnTo>
                      <a:pt x="666" y="198"/>
                    </a:lnTo>
                    <a:lnTo>
                      <a:pt x="666" y="210"/>
                    </a:lnTo>
                    <a:lnTo>
                      <a:pt x="672" y="210"/>
                    </a:lnTo>
                    <a:lnTo>
                      <a:pt x="678" y="210"/>
                    </a:lnTo>
                    <a:lnTo>
                      <a:pt x="684" y="216"/>
                    </a:lnTo>
                    <a:lnTo>
                      <a:pt x="690" y="216"/>
                    </a:lnTo>
                    <a:lnTo>
                      <a:pt x="690" y="222"/>
                    </a:lnTo>
                    <a:lnTo>
                      <a:pt x="690" y="228"/>
                    </a:lnTo>
                    <a:lnTo>
                      <a:pt x="696" y="228"/>
                    </a:lnTo>
                    <a:lnTo>
                      <a:pt x="702" y="228"/>
                    </a:lnTo>
                    <a:lnTo>
                      <a:pt x="702" y="234"/>
                    </a:lnTo>
                    <a:lnTo>
                      <a:pt x="702" y="228"/>
                    </a:lnTo>
                    <a:lnTo>
                      <a:pt x="702" y="234"/>
                    </a:lnTo>
                    <a:lnTo>
                      <a:pt x="708" y="234"/>
                    </a:lnTo>
                    <a:lnTo>
                      <a:pt x="714" y="234"/>
                    </a:lnTo>
                    <a:lnTo>
                      <a:pt x="720" y="234"/>
                    </a:lnTo>
                    <a:lnTo>
                      <a:pt x="726" y="234"/>
                    </a:lnTo>
                    <a:lnTo>
                      <a:pt x="726" y="240"/>
                    </a:lnTo>
                    <a:lnTo>
                      <a:pt x="732" y="246"/>
                    </a:lnTo>
                    <a:lnTo>
                      <a:pt x="732" y="240"/>
                    </a:lnTo>
                    <a:lnTo>
                      <a:pt x="732" y="246"/>
                    </a:lnTo>
                    <a:lnTo>
                      <a:pt x="738" y="246"/>
                    </a:lnTo>
                    <a:lnTo>
                      <a:pt x="744" y="246"/>
                    </a:lnTo>
                    <a:lnTo>
                      <a:pt x="750" y="246"/>
                    </a:lnTo>
                    <a:lnTo>
                      <a:pt x="756" y="246"/>
                    </a:lnTo>
                    <a:lnTo>
                      <a:pt x="762" y="252"/>
                    </a:lnTo>
                    <a:lnTo>
                      <a:pt x="768" y="252"/>
                    </a:lnTo>
                    <a:lnTo>
                      <a:pt x="768" y="258"/>
                    </a:lnTo>
                    <a:lnTo>
                      <a:pt x="768" y="264"/>
                    </a:lnTo>
                    <a:lnTo>
                      <a:pt x="768" y="270"/>
                    </a:lnTo>
                    <a:lnTo>
                      <a:pt x="774" y="270"/>
                    </a:lnTo>
                    <a:lnTo>
                      <a:pt x="768" y="270"/>
                    </a:lnTo>
                    <a:lnTo>
                      <a:pt x="774" y="276"/>
                    </a:lnTo>
                    <a:lnTo>
                      <a:pt x="768" y="276"/>
                    </a:lnTo>
                    <a:lnTo>
                      <a:pt x="768" y="282"/>
                    </a:lnTo>
                    <a:lnTo>
                      <a:pt x="768" y="288"/>
                    </a:lnTo>
                    <a:lnTo>
                      <a:pt x="762" y="288"/>
                    </a:lnTo>
                    <a:lnTo>
                      <a:pt x="768" y="294"/>
                    </a:lnTo>
                    <a:lnTo>
                      <a:pt x="774" y="294"/>
                    </a:lnTo>
                    <a:lnTo>
                      <a:pt x="774" y="300"/>
                    </a:lnTo>
                    <a:lnTo>
                      <a:pt x="822" y="288"/>
                    </a:lnTo>
                    <a:lnTo>
                      <a:pt x="822" y="396"/>
                    </a:lnTo>
                    <a:lnTo>
                      <a:pt x="810" y="402"/>
                    </a:lnTo>
                    <a:lnTo>
                      <a:pt x="810" y="414"/>
                    </a:lnTo>
                    <a:lnTo>
                      <a:pt x="810" y="426"/>
                    </a:lnTo>
                    <a:lnTo>
                      <a:pt x="810" y="444"/>
                    </a:lnTo>
                    <a:lnTo>
                      <a:pt x="804" y="450"/>
                    </a:lnTo>
                    <a:lnTo>
                      <a:pt x="804" y="456"/>
                    </a:lnTo>
                    <a:lnTo>
                      <a:pt x="804" y="462"/>
                    </a:lnTo>
                    <a:lnTo>
                      <a:pt x="798" y="462"/>
                    </a:lnTo>
                    <a:lnTo>
                      <a:pt x="792" y="462"/>
                    </a:lnTo>
                    <a:lnTo>
                      <a:pt x="792" y="468"/>
                    </a:lnTo>
                    <a:lnTo>
                      <a:pt x="786" y="468"/>
                    </a:lnTo>
                    <a:lnTo>
                      <a:pt x="786" y="474"/>
                    </a:lnTo>
                    <a:lnTo>
                      <a:pt x="786" y="480"/>
                    </a:lnTo>
                    <a:lnTo>
                      <a:pt x="762" y="480"/>
                    </a:lnTo>
                    <a:lnTo>
                      <a:pt x="738" y="474"/>
                    </a:lnTo>
                    <a:lnTo>
                      <a:pt x="702" y="480"/>
                    </a:lnTo>
                    <a:lnTo>
                      <a:pt x="678" y="480"/>
                    </a:lnTo>
                    <a:lnTo>
                      <a:pt x="672" y="480"/>
                    </a:lnTo>
                    <a:lnTo>
                      <a:pt x="660" y="498"/>
                    </a:lnTo>
                    <a:lnTo>
                      <a:pt x="648" y="498"/>
                    </a:lnTo>
                    <a:lnTo>
                      <a:pt x="642" y="498"/>
                    </a:lnTo>
                    <a:lnTo>
                      <a:pt x="636" y="498"/>
                    </a:lnTo>
                    <a:lnTo>
                      <a:pt x="636" y="492"/>
                    </a:lnTo>
                    <a:lnTo>
                      <a:pt x="630" y="498"/>
                    </a:lnTo>
                    <a:lnTo>
                      <a:pt x="624" y="492"/>
                    </a:lnTo>
                    <a:lnTo>
                      <a:pt x="618" y="492"/>
                    </a:lnTo>
                    <a:lnTo>
                      <a:pt x="618" y="498"/>
                    </a:lnTo>
                    <a:lnTo>
                      <a:pt x="612" y="498"/>
                    </a:lnTo>
                    <a:lnTo>
                      <a:pt x="612" y="492"/>
                    </a:lnTo>
                    <a:lnTo>
                      <a:pt x="600" y="492"/>
                    </a:lnTo>
                    <a:lnTo>
                      <a:pt x="588" y="492"/>
                    </a:lnTo>
                    <a:lnTo>
                      <a:pt x="576" y="492"/>
                    </a:lnTo>
                    <a:lnTo>
                      <a:pt x="564" y="498"/>
                    </a:lnTo>
                    <a:lnTo>
                      <a:pt x="558" y="504"/>
                    </a:lnTo>
                    <a:lnTo>
                      <a:pt x="546" y="510"/>
                    </a:lnTo>
                    <a:lnTo>
                      <a:pt x="528" y="516"/>
                    </a:lnTo>
                    <a:lnTo>
                      <a:pt x="522" y="522"/>
                    </a:lnTo>
                    <a:lnTo>
                      <a:pt x="516" y="522"/>
                    </a:lnTo>
                    <a:lnTo>
                      <a:pt x="510" y="522"/>
                    </a:lnTo>
                    <a:lnTo>
                      <a:pt x="510" y="534"/>
                    </a:lnTo>
                    <a:lnTo>
                      <a:pt x="504" y="534"/>
                    </a:lnTo>
                    <a:lnTo>
                      <a:pt x="498" y="534"/>
                    </a:lnTo>
                    <a:lnTo>
                      <a:pt x="486" y="528"/>
                    </a:lnTo>
                    <a:lnTo>
                      <a:pt x="480" y="540"/>
                    </a:lnTo>
                    <a:lnTo>
                      <a:pt x="468" y="540"/>
                    </a:lnTo>
                    <a:lnTo>
                      <a:pt x="468" y="546"/>
                    </a:lnTo>
                    <a:lnTo>
                      <a:pt x="468" y="552"/>
                    </a:lnTo>
                    <a:lnTo>
                      <a:pt x="468" y="558"/>
                    </a:lnTo>
                    <a:lnTo>
                      <a:pt x="462" y="564"/>
                    </a:lnTo>
                    <a:lnTo>
                      <a:pt x="462" y="558"/>
                    </a:lnTo>
                    <a:lnTo>
                      <a:pt x="456" y="564"/>
                    </a:lnTo>
                    <a:lnTo>
                      <a:pt x="456" y="558"/>
                    </a:lnTo>
                    <a:lnTo>
                      <a:pt x="450" y="558"/>
                    </a:lnTo>
                    <a:lnTo>
                      <a:pt x="444" y="558"/>
                    </a:lnTo>
                    <a:lnTo>
                      <a:pt x="450" y="558"/>
                    </a:lnTo>
                    <a:lnTo>
                      <a:pt x="450" y="564"/>
                    </a:lnTo>
                    <a:lnTo>
                      <a:pt x="444" y="570"/>
                    </a:lnTo>
                    <a:lnTo>
                      <a:pt x="450" y="570"/>
                    </a:lnTo>
                    <a:lnTo>
                      <a:pt x="450" y="576"/>
                    </a:lnTo>
                    <a:lnTo>
                      <a:pt x="450" y="582"/>
                    </a:lnTo>
                    <a:lnTo>
                      <a:pt x="438" y="582"/>
                    </a:lnTo>
                    <a:lnTo>
                      <a:pt x="438" y="588"/>
                    </a:lnTo>
                    <a:lnTo>
                      <a:pt x="432" y="582"/>
                    </a:lnTo>
                    <a:lnTo>
                      <a:pt x="426" y="582"/>
                    </a:lnTo>
                    <a:lnTo>
                      <a:pt x="420" y="576"/>
                    </a:lnTo>
                    <a:lnTo>
                      <a:pt x="414" y="576"/>
                    </a:lnTo>
                    <a:lnTo>
                      <a:pt x="414" y="570"/>
                    </a:lnTo>
                    <a:lnTo>
                      <a:pt x="408" y="570"/>
                    </a:lnTo>
                    <a:lnTo>
                      <a:pt x="408" y="576"/>
                    </a:lnTo>
                    <a:lnTo>
                      <a:pt x="402" y="576"/>
                    </a:lnTo>
                    <a:lnTo>
                      <a:pt x="402" y="582"/>
                    </a:lnTo>
                    <a:lnTo>
                      <a:pt x="396" y="582"/>
                    </a:lnTo>
                    <a:lnTo>
                      <a:pt x="402" y="582"/>
                    </a:lnTo>
                    <a:lnTo>
                      <a:pt x="396" y="582"/>
                    </a:lnTo>
                    <a:lnTo>
                      <a:pt x="396" y="588"/>
                    </a:lnTo>
                    <a:lnTo>
                      <a:pt x="396" y="594"/>
                    </a:lnTo>
                    <a:lnTo>
                      <a:pt x="402" y="594"/>
                    </a:lnTo>
                    <a:lnTo>
                      <a:pt x="402" y="600"/>
                    </a:lnTo>
                    <a:lnTo>
                      <a:pt x="402" y="606"/>
                    </a:lnTo>
                    <a:lnTo>
                      <a:pt x="396" y="606"/>
                    </a:lnTo>
                    <a:lnTo>
                      <a:pt x="390" y="606"/>
                    </a:lnTo>
                    <a:lnTo>
                      <a:pt x="384" y="606"/>
                    </a:lnTo>
                    <a:lnTo>
                      <a:pt x="384" y="612"/>
                    </a:lnTo>
                    <a:lnTo>
                      <a:pt x="390" y="612"/>
                    </a:lnTo>
                    <a:lnTo>
                      <a:pt x="390" y="618"/>
                    </a:lnTo>
                    <a:lnTo>
                      <a:pt x="390" y="624"/>
                    </a:lnTo>
                    <a:lnTo>
                      <a:pt x="390" y="630"/>
                    </a:lnTo>
                    <a:lnTo>
                      <a:pt x="384" y="630"/>
                    </a:lnTo>
                    <a:lnTo>
                      <a:pt x="384" y="636"/>
                    </a:lnTo>
                    <a:lnTo>
                      <a:pt x="378" y="636"/>
                    </a:lnTo>
                    <a:lnTo>
                      <a:pt x="378" y="642"/>
                    </a:lnTo>
                    <a:lnTo>
                      <a:pt x="372" y="642"/>
                    </a:lnTo>
                    <a:lnTo>
                      <a:pt x="366" y="642"/>
                    </a:lnTo>
                    <a:lnTo>
                      <a:pt x="360" y="642"/>
                    </a:lnTo>
                    <a:lnTo>
                      <a:pt x="354" y="642"/>
                    </a:lnTo>
                    <a:lnTo>
                      <a:pt x="354" y="648"/>
                    </a:lnTo>
                    <a:lnTo>
                      <a:pt x="348" y="648"/>
                    </a:lnTo>
                    <a:lnTo>
                      <a:pt x="348" y="654"/>
                    </a:lnTo>
                    <a:lnTo>
                      <a:pt x="348" y="648"/>
                    </a:lnTo>
                    <a:lnTo>
                      <a:pt x="348" y="654"/>
                    </a:lnTo>
                    <a:lnTo>
                      <a:pt x="348" y="648"/>
                    </a:lnTo>
                    <a:lnTo>
                      <a:pt x="342" y="654"/>
                    </a:lnTo>
                    <a:lnTo>
                      <a:pt x="348" y="654"/>
                    </a:lnTo>
                    <a:lnTo>
                      <a:pt x="348" y="660"/>
                    </a:lnTo>
                    <a:lnTo>
                      <a:pt x="348" y="666"/>
                    </a:lnTo>
                    <a:lnTo>
                      <a:pt x="354" y="666"/>
                    </a:lnTo>
                    <a:lnTo>
                      <a:pt x="348" y="666"/>
                    </a:lnTo>
                    <a:lnTo>
                      <a:pt x="354" y="666"/>
                    </a:lnTo>
                    <a:lnTo>
                      <a:pt x="348" y="672"/>
                    </a:lnTo>
                    <a:lnTo>
                      <a:pt x="354" y="672"/>
                    </a:lnTo>
                    <a:lnTo>
                      <a:pt x="348" y="672"/>
                    </a:lnTo>
                    <a:lnTo>
                      <a:pt x="348" y="678"/>
                    </a:lnTo>
                    <a:lnTo>
                      <a:pt x="348" y="684"/>
                    </a:lnTo>
                    <a:lnTo>
                      <a:pt x="342" y="684"/>
                    </a:lnTo>
                    <a:lnTo>
                      <a:pt x="342" y="690"/>
                    </a:lnTo>
                    <a:lnTo>
                      <a:pt x="336" y="690"/>
                    </a:lnTo>
                    <a:lnTo>
                      <a:pt x="336" y="696"/>
                    </a:lnTo>
                    <a:lnTo>
                      <a:pt x="342" y="702"/>
                    </a:lnTo>
                    <a:lnTo>
                      <a:pt x="336" y="702"/>
                    </a:lnTo>
                    <a:lnTo>
                      <a:pt x="336" y="708"/>
                    </a:lnTo>
                    <a:lnTo>
                      <a:pt x="336" y="714"/>
                    </a:lnTo>
                    <a:lnTo>
                      <a:pt x="336" y="720"/>
                    </a:lnTo>
                    <a:lnTo>
                      <a:pt x="330" y="720"/>
                    </a:lnTo>
                    <a:lnTo>
                      <a:pt x="324" y="720"/>
                    </a:lnTo>
                    <a:lnTo>
                      <a:pt x="318" y="720"/>
                    </a:lnTo>
                    <a:lnTo>
                      <a:pt x="318" y="726"/>
                    </a:lnTo>
                    <a:lnTo>
                      <a:pt x="312" y="726"/>
                    </a:lnTo>
                    <a:lnTo>
                      <a:pt x="312" y="732"/>
                    </a:lnTo>
                    <a:lnTo>
                      <a:pt x="306" y="732"/>
                    </a:lnTo>
                    <a:lnTo>
                      <a:pt x="300" y="732"/>
                    </a:lnTo>
                    <a:lnTo>
                      <a:pt x="300" y="726"/>
                    </a:lnTo>
                    <a:lnTo>
                      <a:pt x="306" y="726"/>
                    </a:lnTo>
                    <a:lnTo>
                      <a:pt x="300" y="726"/>
                    </a:lnTo>
                    <a:lnTo>
                      <a:pt x="300" y="720"/>
                    </a:lnTo>
                    <a:lnTo>
                      <a:pt x="306" y="720"/>
                    </a:lnTo>
                    <a:lnTo>
                      <a:pt x="300" y="720"/>
                    </a:lnTo>
                    <a:lnTo>
                      <a:pt x="306" y="720"/>
                    </a:lnTo>
                    <a:lnTo>
                      <a:pt x="300" y="720"/>
                    </a:lnTo>
                    <a:lnTo>
                      <a:pt x="300" y="714"/>
                    </a:lnTo>
                    <a:lnTo>
                      <a:pt x="300" y="720"/>
                    </a:lnTo>
                    <a:lnTo>
                      <a:pt x="300" y="714"/>
                    </a:lnTo>
                    <a:lnTo>
                      <a:pt x="300" y="708"/>
                    </a:lnTo>
                    <a:lnTo>
                      <a:pt x="294" y="708"/>
                    </a:lnTo>
                    <a:lnTo>
                      <a:pt x="288" y="708"/>
                    </a:lnTo>
                    <a:lnTo>
                      <a:pt x="288" y="714"/>
                    </a:lnTo>
                    <a:lnTo>
                      <a:pt x="294" y="714"/>
                    </a:lnTo>
                    <a:lnTo>
                      <a:pt x="288" y="714"/>
                    </a:lnTo>
                    <a:lnTo>
                      <a:pt x="282" y="714"/>
                    </a:lnTo>
                    <a:lnTo>
                      <a:pt x="282" y="708"/>
                    </a:lnTo>
                    <a:lnTo>
                      <a:pt x="282" y="714"/>
                    </a:lnTo>
                    <a:lnTo>
                      <a:pt x="276" y="714"/>
                    </a:lnTo>
                    <a:lnTo>
                      <a:pt x="276" y="720"/>
                    </a:lnTo>
                    <a:lnTo>
                      <a:pt x="282" y="720"/>
                    </a:lnTo>
                    <a:lnTo>
                      <a:pt x="276" y="726"/>
                    </a:lnTo>
                    <a:lnTo>
                      <a:pt x="270" y="726"/>
                    </a:lnTo>
                    <a:lnTo>
                      <a:pt x="264" y="726"/>
                    </a:lnTo>
                    <a:lnTo>
                      <a:pt x="264" y="732"/>
                    </a:lnTo>
                    <a:lnTo>
                      <a:pt x="258" y="732"/>
                    </a:lnTo>
                    <a:lnTo>
                      <a:pt x="252" y="732"/>
                    </a:lnTo>
                    <a:lnTo>
                      <a:pt x="246" y="732"/>
                    </a:lnTo>
                    <a:lnTo>
                      <a:pt x="246" y="726"/>
                    </a:lnTo>
                    <a:lnTo>
                      <a:pt x="246" y="732"/>
                    </a:lnTo>
                    <a:lnTo>
                      <a:pt x="246" y="726"/>
                    </a:lnTo>
                    <a:lnTo>
                      <a:pt x="240" y="726"/>
                    </a:lnTo>
                    <a:lnTo>
                      <a:pt x="240" y="720"/>
                    </a:lnTo>
                    <a:lnTo>
                      <a:pt x="234" y="720"/>
                    </a:lnTo>
                    <a:lnTo>
                      <a:pt x="228" y="720"/>
                    </a:lnTo>
                    <a:lnTo>
                      <a:pt x="228" y="726"/>
                    </a:lnTo>
                    <a:lnTo>
                      <a:pt x="222" y="726"/>
                    </a:lnTo>
                    <a:lnTo>
                      <a:pt x="222" y="732"/>
                    </a:lnTo>
                    <a:lnTo>
                      <a:pt x="216" y="732"/>
                    </a:lnTo>
                    <a:lnTo>
                      <a:pt x="216" y="726"/>
                    </a:lnTo>
                    <a:lnTo>
                      <a:pt x="210" y="726"/>
                    </a:lnTo>
                    <a:lnTo>
                      <a:pt x="204" y="726"/>
                    </a:lnTo>
                    <a:lnTo>
                      <a:pt x="204" y="720"/>
                    </a:lnTo>
                    <a:lnTo>
                      <a:pt x="198" y="720"/>
                    </a:lnTo>
                    <a:lnTo>
                      <a:pt x="198" y="714"/>
                    </a:lnTo>
                    <a:lnTo>
                      <a:pt x="198" y="708"/>
                    </a:lnTo>
                    <a:lnTo>
                      <a:pt x="198" y="702"/>
                    </a:lnTo>
                    <a:lnTo>
                      <a:pt x="198" y="696"/>
                    </a:lnTo>
                    <a:lnTo>
                      <a:pt x="198" y="690"/>
                    </a:lnTo>
                    <a:lnTo>
                      <a:pt x="192" y="690"/>
                    </a:lnTo>
                    <a:lnTo>
                      <a:pt x="186" y="690"/>
                    </a:lnTo>
                    <a:lnTo>
                      <a:pt x="186" y="696"/>
                    </a:lnTo>
                    <a:lnTo>
                      <a:pt x="180" y="696"/>
                    </a:lnTo>
                    <a:lnTo>
                      <a:pt x="180" y="690"/>
                    </a:lnTo>
                    <a:lnTo>
                      <a:pt x="180" y="684"/>
                    </a:lnTo>
                    <a:lnTo>
                      <a:pt x="186" y="684"/>
                    </a:lnTo>
                    <a:lnTo>
                      <a:pt x="186" y="678"/>
                    </a:lnTo>
                    <a:lnTo>
                      <a:pt x="192" y="678"/>
                    </a:lnTo>
                    <a:lnTo>
                      <a:pt x="192" y="672"/>
                    </a:lnTo>
                    <a:lnTo>
                      <a:pt x="186" y="672"/>
                    </a:lnTo>
                    <a:lnTo>
                      <a:pt x="180" y="672"/>
                    </a:lnTo>
                    <a:lnTo>
                      <a:pt x="180" y="666"/>
                    </a:lnTo>
                    <a:lnTo>
                      <a:pt x="180" y="660"/>
                    </a:lnTo>
                    <a:lnTo>
                      <a:pt x="174" y="660"/>
                    </a:lnTo>
                    <a:lnTo>
                      <a:pt x="168" y="660"/>
                    </a:lnTo>
                    <a:lnTo>
                      <a:pt x="174" y="654"/>
                    </a:lnTo>
                    <a:lnTo>
                      <a:pt x="174" y="648"/>
                    </a:lnTo>
                    <a:lnTo>
                      <a:pt x="174" y="642"/>
                    </a:lnTo>
                    <a:lnTo>
                      <a:pt x="168" y="642"/>
                    </a:lnTo>
                    <a:lnTo>
                      <a:pt x="168" y="636"/>
                    </a:lnTo>
                    <a:lnTo>
                      <a:pt x="162" y="636"/>
                    </a:lnTo>
                    <a:lnTo>
                      <a:pt x="162" y="630"/>
                    </a:lnTo>
                    <a:lnTo>
                      <a:pt x="162" y="624"/>
                    </a:lnTo>
                    <a:lnTo>
                      <a:pt x="156" y="624"/>
                    </a:lnTo>
                    <a:lnTo>
                      <a:pt x="156" y="618"/>
                    </a:lnTo>
                    <a:lnTo>
                      <a:pt x="150" y="618"/>
                    </a:lnTo>
                    <a:lnTo>
                      <a:pt x="144" y="618"/>
                    </a:lnTo>
                    <a:lnTo>
                      <a:pt x="144" y="624"/>
                    </a:lnTo>
                    <a:lnTo>
                      <a:pt x="144" y="618"/>
                    </a:lnTo>
                    <a:lnTo>
                      <a:pt x="144" y="624"/>
                    </a:lnTo>
                    <a:lnTo>
                      <a:pt x="150" y="624"/>
                    </a:lnTo>
                    <a:lnTo>
                      <a:pt x="150" y="630"/>
                    </a:lnTo>
                    <a:lnTo>
                      <a:pt x="144" y="630"/>
                    </a:lnTo>
                    <a:lnTo>
                      <a:pt x="138" y="630"/>
                    </a:lnTo>
                    <a:lnTo>
                      <a:pt x="138" y="636"/>
                    </a:lnTo>
                    <a:lnTo>
                      <a:pt x="132" y="636"/>
                    </a:lnTo>
                    <a:lnTo>
                      <a:pt x="126" y="636"/>
                    </a:lnTo>
                    <a:lnTo>
                      <a:pt x="132" y="642"/>
                    </a:lnTo>
                    <a:lnTo>
                      <a:pt x="126" y="642"/>
                    </a:lnTo>
                    <a:lnTo>
                      <a:pt x="120" y="642"/>
                    </a:lnTo>
                    <a:lnTo>
                      <a:pt x="120" y="636"/>
                    </a:lnTo>
                    <a:lnTo>
                      <a:pt x="114" y="636"/>
                    </a:lnTo>
                    <a:lnTo>
                      <a:pt x="108" y="636"/>
                    </a:lnTo>
                    <a:lnTo>
                      <a:pt x="102" y="636"/>
                    </a:lnTo>
                    <a:lnTo>
                      <a:pt x="102" y="630"/>
                    </a:lnTo>
                    <a:lnTo>
                      <a:pt x="96" y="636"/>
                    </a:lnTo>
                    <a:lnTo>
                      <a:pt x="96" y="630"/>
                    </a:lnTo>
                    <a:lnTo>
                      <a:pt x="96" y="636"/>
                    </a:lnTo>
                    <a:lnTo>
                      <a:pt x="90" y="636"/>
                    </a:lnTo>
                    <a:lnTo>
                      <a:pt x="90" y="642"/>
                    </a:lnTo>
                    <a:lnTo>
                      <a:pt x="84" y="642"/>
                    </a:lnTo>
                    <a:lnTo>
                      <a:pt x="84" y="648"/>
                    </a:lnTo>
                    <a:lnTo>
                      <a:pt x="78" y="648"/>
                    </a:lnTo>
                    <a:lnTo>
                      <a:pt x="78" y="642"/>
                    </a:lnTo>
                    <a:lnTo>
                      <a:pt x="72" y="642"/>
                    </a:lnTo>
                    <a:lnTo>
                      <a:pt x="72" y="636"/>
                    </a:lnTo>
                    <a:lnTo>
                      <a:pt x="66" y="636"/>
                    </a:lnTo>
                    <a:lnTo>
                      <a:pt x="66" y="630"/>
                    </a:lnTo>
                    <a:lnTo>
                      <a:pt x="60" y="636"/>
                    </a:lnTo>
                    <a:lnTo>
                      <a:pt x="60" y="630"/>
                    </a:lnTo>
                    <a:lnTo>
                      <a:pt x="60" y="636"/>
                    </a:lnTo>
                    <a:lnTo>
                      <a:pt x="54" y="636"/>
                    </a:lnTo>
                    <a:lnTo>
                      <a:pt x="54" y="642"/>
                    </a:lnTo>
                    <a:lnTo>
                      <a:pt x="48" y="642"/>
                    </a:lnTo>
                    <a:lnTo>
                      <a:pt x="42" y="636"/>
                    </a:lnTo>
                    <a:lnTo>
                      <a:pt x="36" y="636"/>
                    </a:lnTo>
                    <a:lnTo>
                      <a:pt x="36" y="630"/>
                    </a:lnTo>
                    <a:lnTo>
                      <a:pt x="42" y="630"/>
                    </a:lnTo>
                    <a:lnTo>
                      <a:pt x="42" y="624"/>
                    </a:lnTo>
                    <a:lnTo>
                      <a:pt x="48" y="618"/>
                    </a:lnTo>
                    <a:lnTo>
                      <a:pt x="42" y="618"/>
                    </a:lnTo>
                    <a:lnTo>
                      <a:pt x="42" y="612"/>
                    </a:lnTo>
                    <a:lnTo>
                      <a:pt x="42" y="606"/>
                    </a:lnTo>
                    <a:lnTo>
                      <a:pt x="42" y="600"/>
                    </a:lnTo>
                    <a:lnTo>
                      <a:pt x="48" y="594"/>
                    </a:lnTo>
                    <a:lnTo>
                      <a:pt x="42" y="594"/>
                    </a:lnTo>
                    <a:lnTo>
                      <a:pt x="42" y="588"/>
                    </a:lnTo>
                    <a:lnTo>
                      <a:pt x="36" y="588"/>
                    </a:lnTo>
                    <a:lnTo>
                      <a:pt x="36" y="582"/>
                    </a:lnTo>
                    <a:lnTo>
                      <a:pt x="36" y="576"/>
                    </a:lnTo>
                    <a:lnTo>
                      <a:pt x="30" y="576"/>
                    </a:lnTo>
                    <a:lnTo>
                      <a:pt x="24" y="576"/>
                    </a:lnTo>
                    <a:lnTo>
                      <a:pt x="18" y="576"/>
                    </a:lnTo>
                    <a:lnTo>
                      <a:pt x="18" y="570"/>
                    </a:lnTo>
                    <a:lnTo>
                      <a:pt x="12" y="564"/>
                    </a:lnTo>
                    <a:lnTo>
                      <a:pt x="12" y="558"/>
                    </a:lnTo>
                    <a:lnTo>
                      <a:pt x="18" y="552"/>
                    </a:lnTo>
                    <a:lnTo>
                      <a:pt x="18" y="546"/>
                    </a:lnTo>
                    <a:lnTo>
                      <a:pt x="12" y="546"/>
                    </a:lnTo>
                    <a:lnTo>
                      <a:pt x="12" y="540"/>
                    </a:lnTo>
                    <a:lnTo>
                      <a:pt x="12" y="534"/>
                    </a:lnTo>
                    <a:lnTo>
                      <a:pt x="12" y="528"/>
                    </a:lnTo>
                    <a:lnTo>
                      <a:pt x="6" y="528"/>
                    </a:lnTo>
                    <a:lnTo>
                      <a:pt x="6" y="522"/>
                    </a:lnTo>
                    <a:lnTo>
                      <a:pt x="0" y="522"/>
                    </a:lnTo>
                    <a:lnTo>
                      <a:pt x="0" y="516"/>
                    </a:lnTo>
                    <a:lnTo>
                      <a:pt x="6" y="516"/>
                    </a:lnTo>
                    <a:lnTo>
                      <a:pt x="6" y="510"/>
                    </a:lnTo>
                    <a:lnTo>
                      <a:pt x="0" y="510"/>
                    </a:lnTo>
                    <a:lnTo>
                      <a:pt x="0" y="504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19" name="Freeform 105"/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215" y="1505"/>
                <a:ext cx="634" cy="473"/>
              </a:xfrm>
              <a:custGeom>
                <a:avLst/>
                <a:gdLst>
                  <a:gd name="T0" fmla="*/ 5 w 786"/>
                  <a:gd name="T1" fmla="*/ 116 h 588"/>
                  <a:gd name="T2" fmla="*/ 15 w 786"/>
                  <a:gd name="T3" fmla="*/ 111 h 588"/>
                  <a:gd name="T4" fmla="*/ 40 w 786"/>
                  <a:gd name="T5" fmla="*/ 111 h 588"/>
                  <a:gd name="T6" fmla="*/ 48 w 786"/>
                  <a:gd name="T7" fmla="*/ 108 h 588"/>
                  <a:gd name="T8" fmla="*/ 52 w 786"/>
                  <a:gd name="T9" fmla="*/ 105 h 588"/>
                  <a:gd name="T10" fmla="*/ 52 w 786"/>
                  <a:gd name="T11" fmla="*/ 93 h 588"/>
                  <a:gd name="T12" fmla="*/ 65 w 786"/>
                  <a:gd name="T13" fmla="*/ 57 h 588"/>
                  <a:gd name="T14" fmla="*/ 96 w 786"/>
                  <a:gd name="T15" fmla="*/ 39 h 588"/>
                  <a:gd name="T16" fmla="*/ 150 w 786"/>
                  <a:gd name="T17" fmla="*/ 6 h 588"/>
                  <a:gd name="T18" fmla="*/ 172 w 786"/>
                  <a:gd name="T19" fmla="*/ 2 h 588"/>
                  <a:gd name="T20" fmla="*/ 181 w 786"/>
                  <a:gd name="T21" fmla="*/ 3 h 588"/>
                  <a:gd name="T22" fmla="*/ 191 w 786"/>
                  <a:gd name="T23" fmla="*/ 11 h 588"/>
                  <a:gd name="T24" fmla="*/ 205 w 786"/>
                  <a:gd name="T25" fmla="*/ 26 h 588"/>
                  <a:gd name="T26" fmla="*/ 211 w 786"/>
                  <a:gd name="T27" fmla="*/ 34 h 588"/>
                  <a:gd name="T28" fmla="*/ 213 w 786"/>
                  <a:gd name="T29" fmla="*/ 39 h 588"/>
                  <a:gd name="T30" fmla="*/ 213 w 786"/>
                  <a:gd name="T31" fmla="*/ 51 h 588"/>
                  <a:gd name="T32" fmla="*/ 211 w 786"/>
                  <a:gd name="T33" fmla="*/ 59 h 588"/>
                  <a:gd name="T34" fmla="*/ 202 w 786"/>
                  <a:gd name="T35" fmla="*/ 96 h 588"/>
                  <a:gd name="T36" fmla="*/ 194 w 786"/>
                  <a:gd name="T37" fmla="*/ 106 h 588"/>
                  <a:gd name="T38" fmla="*/ 186 w 786"/>
                  <a:gd name="T39" fmla="*/ 116 h 588"/>
                  <a:gd name="T40" fmla="*/ 185 w 786"/>
                  <a:gd name="T41" fmla="*/ 121 h 588"/>
                  <a:gd name="T42" fmla="*/ 183 w 786"/>
                  <a:gd name="T43" fmla="*/ 132 h 588"/>
                  <a:gd name="T44" fmla="*/ 178 w 786"/>
                  <a:gd name="T45" fmla="*/ 134 h 588"/>
                  <a:gd name="T46" fmla="*/ 177 w 786"/>
                  <a:gd name="T47" fmla="*/ 135 h 588"/>
                  <a:gd name="T48" fmla="*/ 177 w 786"/>
                  <a:gd name="T49" fmla="*/ 135 h 588"/>
                  <a:gd name="T50" fmla="*/ 173 w 786"/>
                  <a:gd name="T51" fmla="*/ 135 h 588"/>
                  <a:gd name="T52" fmla="*/ 170 w 786"/>
                  <a:gd name="T53" fmla="*/ 138 h 588"/>
                  <a:gd name="T54" fmla="*/ 170 w 786"/>
                  <a:gd name="T55" fmla="*/ 138 h 588"/>
                  <a:gd name="T56" fmla="*/ 165 w 786"/>
                  <a:gd name="T57" fmla="*/ 140 h 588"/>
                  <a:gd name="T58" fmla="*/ 161 w 786"/>
                  <a:gd name="T59" fmla="*/ 140 h 588"/>
                  <a:gd name="T60" fmla="*/ 156 w 786"/>
                  <a:gd name="T61" fmla="*/ 137 h 588"/>
                  <a:gd name="T62" fmla="*/ 149 w 786"/>
                  <a:gd name="T63" fmla="*/ 137 h 588"/>
                  <a:gd name="T64" fmla="*/ 136 w 786"/>
                  <a:gd name="T65" fmla="*/ 138 h 588"/>
                  <a:gd name="T66" fmla="*/ 130 w 786"/>
                  <a:gd name="T67" fmla="*/ 145 h 588"/>
                  <a:gd name="T68" fmla="*/ 123 w 786"/>
                  <a:gd name="T69" fmla="*/ 143 h 588"/>
                  <a:gd name="T70" fmla="*/ 115 w 786"/>
                  <a:gd name="T71" fmla="*/ 142 h 588"/>
                  <a:gd name="T72" fmla="*/ 111 w 786"/>
                  <a:gd name="T73" fmla="*/ 138 h 588"/>
                  <a:gd name="T74" fmla="*/ 102 w 786"/>
                  <a:gd name="T75" fmla="*/ 138 h 588"/>
                  <a:gd name="T76" fmla="*/ 94 w 786"/>
                  <a:gd name="T77" fmla="*/ 142 h 588"/>
                  <a:gd name="T78" fmla="*/ 86 w 786"/>
                  <a:gd name="T79" fmla="*/ 134 h 588"/>
                  <a:gd name="T80" fmla="*/ 81 w 786"/>
                  <a:gd name="T81" fmla="*/ 132 h 588"/>
                  <a:gd name="T82" fmla="*/ 69 w 786"/>
                  <a:gd name="T83" fmla="*/ 132 h 588"/>
                  <a:gd name="T84" fmla="*/ 65 w 786"/>
                  <a:gd name="T85" fmla="*/ 130 h 588"/>
                  <a:gd name="T86" fmla="*/ 55 w 786"/>
                  <a:gd name="T87" fmla="*/ 142 h 588"/>
                  <a:gd name="T88" fmla="*/ 48 w 786"/>
                  <a:gd name="T89" fmla="*/ 147 h 588"/>
                  <a:gd name="T90" fmla="*/ 48 w 786"/>
                  <a:gd name="T91" fmla="*/ 156 h 588"/>
                  <a:gd name="T92" fmla="*/ 45 w 786"/>
                  <a:gd name="T93" fmla="*/ 156 h 588"/>
                  <a:gd name="T94" fmla="*/ 42 w 786"/>
                  <a:gd name="T95" fmla="*/ 153 h 588"/>
                  <a:gd name="T96" fmla="*/ 36 w 786"/>
                  <a:gd name="T97" fmla="*/ 150 h 588"/>
                  <a:gd name="T98" fmla="*/ 31 w 786"/>
                  <a:gd name="T99" fmla="*/ 150 h 588"/>
                  <a:gd name="T100" fmla="*/ 31 w 786"/>
                  <a:gd name="T101" fmla="*/ 154 h 588"/>
                  <a:gd name="T102" fmla="*/ 26 w 786"/>
                  <a:gd name="T103" fmla="*/ 150 h 588"/>
                  <a:gd name="T104" fmla="*/ 28 w 786"/>
                  <a:gd name="T105" fmla="*/ 146 h 588"/>
                  <a:gd name="T106" fmla="*/ 23 w 786"/>
                  <a:gd name="T107" fmla="*/ 146 h 588"/>
                  <a:gd name="T108" fmla="*/ 12 w 786"/>
                  <a:gd name="T109" fmla="*/ 137 h 588"/>
                  <a:gd name="T110" fmla="*/ 13 w 786"/>
                  <a:gd name="T111" fmla="*/ 135 h 588"/>
                  <a:gd name="T112" fmla="*/ 8 w 786"/>
                  <a:gd name="T113" fmla="*/ 134 h 588"/>
                  <a:gd name="T114" fmla="*/ 5 w 786"/>
                  <a:gd name="T115" fmla="*/ 130 h 588"/>
                  <a:gd name="T116" fmla="*/ 3 w 786"/>
                  <a:gd name="T117" fmla="*/ 125 h 588"/>
                  <a:gd name="T118" fmla="*/ 0 w 786"/>
                  <a:gd name="T119" fmla="*/ 121 h 588"/>
                  <a:gd name="T120" fmla="*/ 2 w 786"/>
                  <a:gd name="T121" fmla="*/ 114 h 5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786" h="588">
                    <a:moveTo>
                      <a:pt x="6" y="420"/>
                    </a:moveTo>
                    <a:lnTo>
                      <a:pt x="12" y="426"/>
                    </a:lnTo>
                    <a:lnTo>
                      <a:pt x="18" y="420"/>
                    </a:lnTo>
                    <a:lnTo>
                      <a:pt x="18" y="426"/>
                    </a:lnTo>
                    <a:lnTo>
                      <a:pt x="24" y="426"/>
                    </a:lnTo>
                    <a:lnTo>
                      <a:pt x="30" y="426"/>
                    </a:lnTo>
                    <a:lnTo>
                      <a:pt x="42" y="426"/>
                    </a:lnTo>
                    <a:lnTo>
                      <a:pt x="54" y="408"/>
                    </a:lnTo>
                    <a:lnTo>
                      <a:pt x="60" y="408"/>
                    </a:lnTo>
                    <a:lnTo>
                      <a:pt x="84" y="408"/>
                    </a:lnTo>
                    <a:lnTo>
                      <a:pt x="120" y="402"/>
                    </a:lnTo>
                    <a:lnTo>
                      <a:pt x="144" y="408"/>
                    </a:lnTo>
                    <a:lnTo>
                      <a:pt x="168" y="408"/>
                    </a:lnTo>
                    <a:lnTo>
                      <a:pt x="168" y="402"/>
                    </a:lnTo>
                    <a:lnTo>
                      <a:pt x="168" y="396"/>
                    </a:lnTo>
                    <a:lnTo>
                      <a:pt x="174" y="396"/>
                    </a:lnTo>
                    <a:lnTo>
                      <a:pt x="174" y="390"/>
                    </a:lnTo>
                    <a:lnTo>
                      <a:pt x="180" y="390"/>
                    </a:lnTo>
                    <a:lnTo>
                      <a:pt x="186" y="390"/>
                    </a:lnTo>
                    <a:lnTo>
                      <a:pt x="186" y="384"/>
                    </a:lnTo>
                    <a:lnTo>
                      <a:pt x="186" y="378"/>
                    </a:lnTo>
                    <a:lnTo>
                      <a:pt x="192" y="372"/>
                    </a:lnTo>
                    <a:lnTo>
                      <a:pt x="192" y="354"/>
                    </a:lnTo>
                    <a:lnTo>
                      <a:pt x="192" y="342"/>
                    </a:lnTo>
                    <a:lnTo>
                      <a:pt x="192" y="330"/>
                    </a:lnTo>
                    <a:lnTo>
                      <a:pt x="204" y="324"/>
                    </a:lnTo>
                    <a:lnTo>
                      <a:pt x="204" y="216"/>
                    </a:lnTo>
                    <a:lnTo>
                      <a:pt x="234" y="210"/>
                    </a:lnTo>
                    <a:lnTo>
                      <a:pt x="282" y="204"/>
                    </a:lnTo>
                    <a:lnTo>
                      <a:pt x="312" y="174"/>
                    </a:lnTo>
                    <a:lnTo>
                      <a:pt x="330" y="156"/>
                    </a:lnTo>
                    <a:lnTo>
                      <a:pt x="348" y="144"/>
                    </a:lnTo>
                    <a:lnTo>
                      <a:pt x="360" y="132"/>
                    </a:lnTo>
                    <a:lnTo>
                      <a:pt x="420" y="96"/>
                    </a:lnTo>
                    <a:lnTo>
                      <a:pt x="468" y="66"/>
                    </a:lnTo>
                    <a:lnTo>
                      <a:pt x="546" y="24"/>
                    </a:lnTo>
                    <a:lnTo>
                      <a:pt x="588" y="0"/>
                    </a:lnTo>
                    <a:lnTo>
                      <a:pt x="594" y="0"/>
                    </a:lnTo>
                    <a:lnTo>
                      <a:pt x="606" y="6"/>
                    </a:lnTo>
                    <a:lnTo>
                      <a:pt x="624" y="6"/>
                    </a:lnTo>
                    <a:lnTo>
                      <a:pt x="630" y="6"/>
                    </a:lnTo>
                    <a:lnTo>
                      <a:pt x="648" y="12"/>
                    </a:lnTo>
                    <a:lnTo>
                      <a:pt x="654" y="12"/>
                    </a:lnTo>
                    <a:lnTo>
                      <a:pt x="660" y="12"/>
                    </a:lnTo>
                    <a:lnTo>
                      <a:pt x="660" y="18"/>
                    </a:lnTo>
                    <a:lnTo>
                      <a:pt x="666" y="18"/>
                    </a:lnTo>
                    <a:lnTo>
                      <a:pt x="672" y="24"/>
                    </a:lnTo>
                    <a:lnTo>
                      <a:pt x="696" y="42"/>
                    </a:lnTo>
                    <a:lnTo>
                      <a:pt x="738" y="24"/>
                    </a:lnTo>
                    <a:lnTo>
                      <a:pt x="744" y="54"/>
                    </a:lnTo>
                    <a:lnTo>
                      <a:pt x="744" y="72"/>
                    </a:lnTo>
                    <a:lnTo>
                      <a:pt x="744" y="96"/>
                    </a:lnTo>
                    <a:lnTo>
                      <a:pt x="744" y="102"/>
                    </a:lnTo>
                    <a:lnTo>
                      <a:pt x="750" y="102"/>
                    </a:lnTo>
                    <a:lnTo>
                      <a:pt x="768" y="126"/>
                    </a:lnTo>
                    <a:lnTo>
                      <a:pt x="762" y="126"/>
                    </a:lnTo>
                    <a:lnTo>
                      <a:pt x="762" y="132"/>
                    </a:lnTo>
                    <a:lnTo>
                      <a:pt x="768" y="138"/>
                    </a:lnTo>
                    <a:lnTo>
                      <a:pt x="774" y="138"/>
                    </a:lnTo>
                    <a:lnTo>
                      <a:pt x="774" y="144"/>
                    </a:lnTo>
                    <a:lnTo>
                      <a:pt x="780" y="150"/>
                    </a:lnTo>
                    <a:lnTo>
                      <a:pt x="786" y="156"/>
                    </a:lnTo>
                    <a:lnTo>
                      <a:pt x="774" y="174"/>
                    </a:lnTo>
                    <a:lnTo>
                      <a:pt x="774" y="186"/>
                    </a:lnTo>
                    <a:lnTo>
                      <a:pt x="774" y="192"/>
                    </a:lnTo>
                    <a:lnTo>
                      <a:pt x="774" y="198"/>
                    </a:lnTo>
                    <a:lnTo>
                      <a:pt x="768" y="210"/>
                    </a:lnTo>
                    <a:lnTo>
                      <a:pt x="768" y="216"/>
                    </a:lnTo>
                    <a:lnTo>
                      <a:pt x="768" y="222"/>
                    </a:lnTo>
                    <a:lnTo>
                      <a:pt x="768" y="234"/>
                    </a:lnTo>
                    <a:lnTo>
                      <a:pt x="762" y="330"/>
                    </a:lnTo>
                    <a:lnTo>
                      <a:pt x="732" y="354"/>
                    </a:lnTo>
                    <a:lnTo>
                      <a:pt x="726" y="366"/>
                    </a:lnTo>
                    <a:lnTo>
                      <a:pt x="720" y="372"/>
                    </a:lnTo>
                    <a:lnTo>
                      <a:pt x="708" y="384"/>
                    </a:lnTo>
                    <a:lnTo>
                      <a:pt x="702" y="390"/>
                    </a:lnTo>
                    <a:lnTo>
                      <a:pt x="696" y="396"/>
                    </a:lnTo>
                    <a:lnTo>
                      <a:pt x="684" y="414"/>
                    </a:lnTo>
                    <a:lnTo>
                      <a:pt x="678" y="420"/>
                    </a:lnTo>
                    <a:lnTo>
                      <a:pt x="678" y="426"/>
                    </a:lnTo>
                    <a:lnTo>
                      <a:pt x="678" y="432"/>
                    </a:lnTo>
                    <a:lnTo>
                      <a:pt x="678" y="438"/>
                    </a:lnTo>
                    <a:lnTo>
                      <a:pt x="672" y="438"/>
                    </a:lnTo>
                    <a:lnTo>
                      <a:pt x="672" y="444"/>
                    </a:lnTo>
                    <a:lnTo>
                      <a:pt x="666" y="444"/>
                    </a:lnTo>
                    <a:lnTo>
                      <a:pt x="660" y="450"/>
                    </a:lnTo>
                    <a:lnTo>
                      <a:pt x="660" y="456"/>
                    </a:lnTo>
                    <a:lnTo>
                      <a:pt x="666" y="486"/>
                    </a:lnTo>
                    <a:lnTo>
                      <a:pt x="660" y="486"/>
                    </a:lnTo>
                    <a:lnTo>
                      <a:pt x="654" y="486"/>
                    </a:lnTo>
                    <a:lnTo>
                      <a:pt x="654" y="492"/>
                    </a:lnTo>
                    <a:lnTo>
                      <a:pt x="648" y="492"/>
                    </a:lnTo>
                    <a:lnTo>
                      <a:pt x="654" y="492"/>
                    </a:lnTo>
                    <a:lnTo>
                      <a:pt x="648" y="492"/>
                    </a:lnTo>
                    <a:lnTo>
                      <a:pt x="648" y="498"/>
                    </a:lnTo>
                    <a:lnTo>
                      <a:pt x="642" y="498"/>
                    </a:lnTo>
                    <a:lnTo>
                      <a:pt x="642" y="492"/>
                    </a:lnTo>
                    <a:lnTo>
                      <a:pt x="642" y="498"/>
                    </a:lnTo>
                    <a:lnTo>
                      <a:pt x="642" y="492"/>
                    </a:lnTo>
                    <a:lnTo>
                      <a:pt x="642" y="498"/>
                    </a:lnTo>
                    <a:lnTo>
                      <a:pt x="642" y="492"/>
                    </a:lnTo>
                    <a:lnTo>
                      <a:pt x="642" y="498"/>
                    </a:lnTo>
                    <a:lnTo>
                      <a:pt x="636" y="498"/>
                    </a:lnTo>
                    <a:lnTo>
                      <a:pt x="630" y="498"/>
                    </a:lnTo>
                    <a:lnTo>
                      <a:pt x="630" y="504"/>
                    </a:lnTo>
                    <a:lnTo>
                      <a:pt x="624" y="504"/>
                    </a:lnTo>
                    <a:lnTo>
                      <a:pt x="624" y="510"/>
                    </a:lnTo>
                    <a:lnTo>
                      <a:pt x="618" y="510"/>
                    </a:lnTo>
                    <a:lnTo>
                      <a:pt x="618" y="504"/>
                    </a:lnTo>
                    <a:lnTo>
                      <a:pt x="618" y="510"/>
                    </a:lnTo>
                    <a:lnTo>
                      <a:pt x="612" y="510"/>
                    </a:lnTo>
                    <a:lnTo>
                      <a:pt x="618" y="510"/>
                    </a:lnTo>
                    <a:lnTo>
                      <a:pt x="618" y="516"/>
                    </a:lnTo>
                    <a:lnTo>
                      <a:pt x="612" y="516"/>
                    </a:lnTo>
                    <a:lnTo>
                      <a:pt x="606" y="516"/>
                    </a:lnTo>
                    <a:lnTo>
                      <a:pt x="600" y="516"/>
                    </a:lnTo>
                    <a:lnTo>
                      <a:pt x="594" y="516"/>
                    </a:lnTo>
                    <a:lnTo>
                      <a:pt x="600" y="516"/>
                    </a:lnTo>
                    <a:lnTo>
                      <a:pt x="594" y="516"/>
                    </a:lnTo>
                    <a:lnTo>
                      <a:pt x="588" y="516"/>
                    </a:lnTo>
                    <a:lnTo>
                      <a:pt x="588" y="510"/>
                    </a:lnTo>
                    <a:lnTo>
                      <a:pt x="582" y="510"/>
                    </a:lnTo>
                    <a:lnTo>
                      <a:pt x="570" y="510"/>
                    </a:lnTo>
                    <a:lnTo>
                      <a:pt x="570" y="504"/>
                    </a:lnTo>
                    <a:lnTo>
                      <a:pt x="564" y="504"/>
                    </a:lnTo>
                    <a:lnTo>
                      <a:pt x="558" y="504"/>
                    </a:lnTo>
                    <a:lnTo>
                      <a:pt x="546" y="504"/>
                    </a:lnTo>
                    <a:lnTo>
                      <a:pt x="540" y="504"/>
                    </a:lnTo>
                    <a:lnTo>
                      <a:pt x="522" y="504"/>
                    </a:lnTo>
                    <a:lnTo>
                      <a:pt x="510" y="510"/>
                    </a:lnTo>
                    <a:lnTo>
                      <a:pt x="498" y="510"/>
                    </a:lnTo>
                    <a:lnTo>
                      <a:pt x="492" y="510"/>
                    </a:lnTo>
                    <a:lnTo>
                      <a:pt x="486" y="516"/>
                    </a:lnTo>
                    <a:lnTo>
                      <a:pt x="480" y="522"/>
                    </a:lnTo>
                    <a:lnTo>
                      <a:pt x="474" y="528"/>
                    </a:lnTo>
                    <a:lnTo>
                      <a:pt x="474" y="534"/>
                    </a:lnTo>
                    <a:lnTo>
                      <a:pt x="462" y="528"/>
                    </a:lnTo>
                    <a:lnTo>
                      <a:pt x="456" y="528"/>
                    </a:lnTo>
                    <a:lnTo>
                      <a:pt x="450" y="528"/>
                    </a:lnTo>
                    <a:lnTo>
                      <a:pt x="444" y="528"/>
                    </a:lnTo>
                    <a:lnTo>
                      <a:pt x="438" y="528"/>
                    </a:lnTo>
                    <a:lnTo>
                      <a:pt x="432" y="528"/>
                    </a:lnTo>
                    <a:lnTo>
                      <a:pt x="426" y="528"/>
                    </a:lnTo>
                    <a:lnTo>
                      <a:pt x="420" y="522"/>
                    </a:lnTo>
                    <a:lnTo>
                      <a:pt x="414" y="516"/>
                    </a:lnTo>
                    <a:lnTo>
                      <a:pt x="408" y="516"/>
                    </a:lnTo>
                    <a:lnTo>
                      <a:pt x="402" y="516"/>
                    </a:lnTo>
                    <a:lnTo>
                      <a:pt x="402" y="510"/>
                    </a:lnTo>
                    <a:lnTo>
                      <a:pt x="396" y="510"/>
                    </a:lnTo>
                    <a:lnTo>
                      <a:pt x="390" y="504"/>
                    </a:lnTo>
                    <a:lnTo>
                      <a:pt x="378" y="504"/>
                    </a:lnTo>
                    <a:lnTo>
                      <a:pt x="372" y="510"/>
                    </a:lnTo>
                    <a:lnTo>
                      <a:pt x="360" y="516"/>
                    </a:lnTo>
                    <a:lnTo>
                      <a:pt x="348" y="516"/>
                    </a:lnTo>
                    <a:lnTo>
                      <a:pt x="348" y="522"/>
                    </a:lnTo>
                    <a:lnTo>
                      <a:pt x="342" y="522"/>
                    </a:lnTo>
                    <a:lnTo>
                      <a:pt x="336" y="522"/>
                    </a:lnTo>
                    <a:lnTo>
                      <a:pt x="330" y="516"/>
                    </a:lnTo>
                    <a:lnTo>
                      <a:pt x="324" y="504"/>
                    </a:lnTo>
                    <a:lnTo>
                      <a:pt x="312" y="492"/>
                    </a:lnTo>
                    <a:lnTo>
                      <a:pt x="306" y="486"/>
                    </a:lnTo>
                    <a:lnTo>
                      <a:pt x="300" y="486"/>
                    </a:lnTo>
                    <a:lnTo>
                      <a:pt x="300" y="492"/>
                    </a:lnTo>
                    <a:lnTo>
                      <a:pt x="294" y="486"/>
                    </a:lnTo>
                    <a:lnTo>
                      <a:pt x="276" y="480"/>
                    </a:lnTo>
                    <a:lnTo>
                      <a:pt x="264" y="480"/>
                    </a:lnTo>
                    <a:lnTo>
                      <a:pt x="258" y="480"/>
                    </a:lnTo>
                    <a:lnTo>
                      <a:pt x="252" y="486"/>
                    </a:lnTo>
                    <a:lnTo>
                      <a:pt x="246" y="486"/>
                    </a:lnTo>
                    <a:lnTo>
                      <a:pt x="240" y="486"/>
                    </a:lnTo>
                    <a:lnTo>
                      <a:pt x="234" y="486"/>
                    </a:lnTo>
                    <a:lnTo>
                      <a:pt x="234" y="480"/>
                    </a:lnTo>
                    <a:lnTo>
                      <a:pt x="216" y="486"/>
                    </a:lnTo>
                    <a:lnTo>
                      <a:pt x="198" y="498"/>
                    </a:lnTo>
                    <a:lnTo>
                      <a:pt x="198" y="516"/>
                    </a:lnTo>
                    <a:lnTo>
                      <a:pt x="198" y="522"/>
                    </a:lnTo>
                    <a:lnTo>
                      <a:pt x="192" y="528"/>
                    </a:lnTo>
                    <a:lnTo>
                      <a:pt x="186" y="534"/>
                    </a:lnTo>
                    <a:lnTo>
                      <a:pt x="180" y="540"/>
                    </a:lnTo>
                    <a:lnTo>
                      <a:pt x="174" y="546"/>
                    </a:lnTo>
                    <a:lnTo>
                      <a:pt x="174" y="558"/>
                    </a:lnTo>
                    <a:lnTo>
                      <a:pt x="174" y="564"/>
                    </a:lnTo>
                    <a:lnTo>
                      <a:pt x="174" y="570"/>
                    </a:lnTo>
                    <a:lnTo>
                      <a:pt x="174" y="576"/>
                    </a:lnTo>
                    <a:lnTo>
                      <a:pt x="174" y="582"/>
                    </a:lnTo>
                    <a:lnTo>
                      <a:pt x="168" y="588"/>
                    </a:lnTo>
                    <a:lnTo>
                      <a:pt x="168" y="582"/>
                    </a:lnTo>
                    <a:lnTo>
                      <a:pt x="162" y="576"/>
                    </a:lnTo>
                    <a:lnTo>
                      <a:pt x="156" y="576"/>
                    </a:lnTo>
                    <a:lnTo>
                      <a:pt x="156" y="570"/>
                    </a:lnTo>
                    <a:lnTo>
                      <a:pt x="150" y="570"/>
                    </a:lnTo>
                    <a:lnTo>
                      <a:pt x="150" y="564"/>
                    </a:lnTo>
                    <a:lnTo>
                      <a:pt x="144" y="564"/>
                    </a:lnTo>
                    <a:lnTo>
                      <a:pt x="144" y="558"/>
                    </a:lnTo>
                    <a:lnTo>
                      <a:pt x="138" y="558"/>
                    </a:lnTo>
                    <a:lnTo>
                      <a:pt x="132" y="552"/>
                    </a:lnTo>
                    <a:lnTo>
                      <a:pt x="126" y="552"/>
                    </a:lnTo>
                    <a:lnTo>
                      <a:pt x="126" y="558"/>
                    </a:lnTo>
                    <a:lnTo>
                      <a:pt x="120" y="558"/>
                    </a:lnTo>
                    <a:lnTo>
                      <a:pt x="114" y="558"/>
                    </a:lnTo>
                    <a:lnTo>
                      <a:pt x="108" y="558"/>
                    </a:lnTo>
                    <a:lnTo>
                      <a:pt x="108" y="564"/>
                    </a:lnTo>
                    <a:lnTo>
                      <a:pt x="114" y="564"/>
                    </a:lnTo>
                    <a:lnTo>
                      <a:pt x="114" y="570"/>
                    </a:lnTo>
                    <a:lnTo>
                      <a:pt x="114" y="576"/>
                    </a:lnTo>
                    <a:lnTo>
                      <a:pt x="108" y="576"/>
                    </a:lnTo>
                    <a:lnTo>
                      <a:pt x="114" y="576"/>
                    </a:lnTo>
                    <a:lnTo>
                      <a:pt x="96" y="558"/>
                    </a:lnTo>
                    <a:lnTo>
                      <a:pt x="96" y="552"/>
                    </a:lnTo>
                    <a:lnTo>
                      <a:pt x="102" y="552"/>
                    </a:lnTo>
                    <a:lnTo>
                      <a:pt x="102" y="546"/>
                    </a:lnTo>
                    <a:lnTo>
                      <a:pt x="102" y="540"/>
                    </a:lnTo>
                    <a:lnTo>
                      <a:pt x="96" y="540"/>
                    </a:lnTo>
                    <a:lnTo>
                      <a:pt x="96" y="534"/>
                    </a:lnTo>
                    <a:lnTo>
                      <a:pt x="90" y="534"/>
                    </a:lnTo>
                    <a:lnTo>
                      <a:pt x="84" y="540"/>
                    </a:lnTo>
                    <a:lnTo>
                      <a:pt x="72" y="540"/>
                    </a:lnTo>
                    <a:lnTo>
                      <a:pt x="42" y="522"/>
                    </a:lnTo>
                    <a:lnTo>
                      <a:pt x="42" y="516"/>
                    </a:lnTo>
                    <a:lnTo>
                      <a:pt x="42" y="504"/>
                    </a:lnTo>
                    <a:lnTo>
                      <a:pt x="48" y="504"/>
                    </a:lnTo>
                    <a:lnTo>
                      <a:pt x="54" y="504"/>
                    </a:lnTo>
                    <a:lnTo>
                      <a:pt x="48" y="504"/>
                    </a:lnTo>
                    <a:lnTo>
                      <a:pt x="48" y="498"/>
                    </a:lnTo>
                    <a:lnTo>
                      <a:pt x="42" y="498"/>
                    </a:lnTo>
                    <a:lnTo>
                      <a:pt x="42" y="492"/>
                    </a:lnTo>
                    <a:lnTo>
                      <a:pt x="36" y="492"/>
                    </a:lnTo>
                    <a:lnTo>
                      <a:pt x="30" y="492"/>
                    </a:lnTo>
                    <a:lnTo>
                      <a:pt x="30" y="486"/>
                    </a:lnTo>
                    <a:lnTo>
                      <a:pt x="24" y="486"/>
                    </a:lnTo>
                    <a:lnTo>
                      <a:pt x="24" y="480"/>
                    </a:lnTo>
                    <a:lnTo>
                      <a:pt x="18" y="480"/>
                    </a:lnTo>
                    <a:lnTo>
                      <a:pt x="18" y="474"/>
                    </a:lnTo>
                    <a:lnTo>
                      <a:pt x="12" y="474"/>
                    </a:lnTo>
                    <a:lnTo>
                      <a:pt x="12" y="468"/>
                    </a:lnTo>
                    <a:lnTo>
                      <a:pt x="12" y="462"/>
                    </a:lnTo>
                    <a:lnTo>
                      <a:pt x="12" y="456"/>
                    </a:lnTo>
                    <a:lnTo>
                      <a:pt x="6" y="456"/>
                    </a:lnTo>
                    <a:lnTo>
                      <a:pt x="0" y="450"/>
                    </a:lnTo>
                    <a:lnTo>
                      <a:pt x="0" y="444"/>
                    </a:lnTo>
                    <a:lnTo>
                      <a:pt x="0" y="438"/>
                    </a:lnTo>
                    <a:lnTo>
                      <a:pt x="0" y="432"/>
                    </a:lnTo>
                    <a:lnTo>
                      <a:pt x="6" y="426"/>
                    </a:lnTo>
                    <a:lnTo>
                      <a:pt x="6" y="420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0" name="Freeform 106"/>
              <p:cNvSpPr>
                <a:spLocks noChangeAspect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1505" y="1775"/>
                <a:ext cx="251" cy="179"/>
              </a:xfrm>
              <a:custGeom>
                <a:avLst/>
                <a:gdLst>
                  <a:gd name="T0" fmla="*/ 15 w 312"/>
                  <a:gd name="T1" fmla="*/ 8 h 222"/>
                  <a:gd name="T2" fmla="*/ 19 w 312"/>
                  <a:gd name="T3" fmla="*/ 3 h 222"/>
                  <a:gd name="T4" fmla="*/ 22 w 312"/>
                  <a:gd name="T5" fmla="*/ 3 h 222"/>
                  <a:gd name="T6" fmla="*/ 28 w 312"/>
                  <a:gd name="T7" fmla="*/ 3 h 222"/>
                  <a:gd name="T8" fmla="*/ 29 w 312"/>
                  <a:gd name="T9" fmla="*/ 2 h 222"/>
                  <a:gd name="T10" fmla="*/ 33 w 312"/>
                  <a:gd name="T11" fmla="*/ 2 h 222"/>
                  <a:gd name="T12" fmla="*/ 34 w 312"/>
                  <a:gd name="T13" fmla="*/ 0 h 222"/>
                  <a:gd name="T14" fmla="*/ 39 w 312"/>
                  <a:gd name="T15" fmla="*/ 2 h 222"/>
                  <a:gd name="T16" fmla="*/ 46 w 312"/>
                  <a:gd name="T17" fmla="*/ 2 h 222"/>
                  <a:gd name="T18" fmla="*/ 49 w 312"/>
                  <a:gd name="T19" fmla="*/ 5 h 222"/>
                  <a:gd name="T20" fmla="*/ 51 w 312"/>
                  <a:gd name="T21" fmla="*/ 8 h 222"/>
                  <a:gd name="T22" fmla="*/ 57 w 312"/>
                  <a:gd name="T23" fmla="*/ 12 h 222"/>
                  <a:gd name="T24" fmla="*/ 60 w 312"/>
                  <a:gd name="T25" fmla="*/ 16 h 222"/>
                  <a:gd name="T26" fmla="*/ 61 w 312"/>
                  <a:gd name="T27" fmla="*/ 19 h 222"/>
                  <a:gd name="T28" fmla="*/ 67 w 312"/>
                  <a:gd name="T29" fmla="*/ 23 h 222"/>
                  <a:gd name="T30" fmla="*/ 70 w 312"/>
                  <a:gd name="T31" fmla="*/ 26 h 222"/>
                  <a:gd name="T32" fmla="*/ 73 w 312"/>
                  <a:gd name="T33" fmla="*/ 29 h 222"/>
                  <a:gd name="T34" fmla="*/ 73 w 312"/>
                  <a:gd name="T35" fmla="*/ 33 h 222"/>
                  <a:gd name="T36" fmla="*/ 75 w 312"/>
                  <a:gd name="T37" fmla="*/ 39 h 222"/>
                  <a:gd name="T38" fmla="*/ 75 w 312"/>
                  <a:gd name="T39" fmla="*/ 43 h 222"/>
                  <a:gd name="T40" fmla="*/ 80 w 312"/>
                  <a:gd name="T41" fmla="*/ 46 h 222"/>
                  <a:gd name="T42" fmla="*/ 83 w 312"/>
                  <a:gd name="T43" fmla="*/ 49 h 222"/>
                  <a:gd name="T44" fmla="*/ 83 w 312"/>
                  <a:gd name="T45" fmla="*/ 55 h 222"/>
                  <a:gd name="T46" fmla="*/ 83 w 312"/>
                  <a:gd name="T47" fmla="*/ 59 h 222"/>
                  <a:gd name="T48" fmla="*/ 76 w 312"/>
                  <a:gd name="T49" fmla="*/ 59 h 222"/>
                  <a:gd name="T50" fmla="*/ 72 w 312"/>
                  <a:gd name="T51" fmla="*/ 61 h 222"/>
                  <a:gd name="T52" fmla="*/ 67 w 312"/>
                  <a:gd name="T53" fmla="*/ 59 h 222"/>
                  <a:gd name="T54" fmla="*/ 61 w 312"/>
                  <a:gd name="T55" fmla="*/ 58 h 222"/>
                  <a:gd name="T56" fmla="*/ 59 w 312"/>
                  <a:gd name="T57" fmla="*/ 56 h 222"/>
                  <a:gd name="T58" fmla="*/ 38 w 312"/>
                  <a:gd name="T59" fmla="*/ 56 h 222"/>
                  <a:gd name="T60" fmla="*/ 29 w 312"/>
                  <a:gd name="T61" fmla="*/ 58 h 222"/>
                  <a:gd name="T62" fmla="*/ 22 w 312"/>
                  <a:gd name="T63" fmla="*/ 58 h 222"/>
                  <a:gd name="T64" fmla="*/ 15 w 312"/>
                  <a:gd name="T65" fmla="*/ 59 h 222"/>
                  <a:gd name="T66" fmla="*/ 13 w 312"/>
                  <a:gd name="T67" fmla="*/ 58 h 222"/>
                  <a:gd name="T68" fmla="*/ 16 w 312"/>
                  <a:gd name="T69" fmla="*/ 56 h 222"/>
                  <a:gd name="T70" fmla="*/ 11 w 312"/>
                  <a:gd name="T71" fmla="*/ 58 h 222"/>
                  <a:gd name="T72" fmla="*/ 11 w 312"/>
                  <a:gd name="T73" fmla="*/ 55 h 222"/>
                  <a:gd name="T74" fmla="*/ 16 w 312"/>
                  <a:gd name="T75" fmla="*/ 49 h 222"/>
                  <a:gd name="T76" fmla="*/ 26 w 312"/>
                  <a:gd name="T77" fmla="*/ 46 h 222"/>
                  <a:gd name="T78" fmla="*/ 33 w 312"/>
                  <a:gd name="T79" fmla="*/ 46 h 222"/>
                  <a:gd name="T80" fmla="*/ 34 w 312"/>
                  <a:gd name="T81" fmla="*/ 45 h 222"/>
                  <a:gd name="T82" fmla="*/ 39 w 312"/>
                  <a:gd name="T83" fmla="*/ 46 h 222"/>
                  <a:gd name="T84" fmla="*/ 44 w 312"/>
                  <a:gd name="T85" fmla="*/ 48 h 222"/>
                  <a:gd name="T86" fmla="*/ 49 w 312"/>
                  <a:gd name="T87" fmla="*/ 46 h 222"/>
                  <a:gd name="T88" fmla="*/ 47 w 312"/>
                  <a:gd name="T89" fmla="*/ 43 h 222"/>
                  <a:gd name="T90" fmla="*/ 42 w 312"/>
                  <a:gd name="T91" fmla="*/ 43 h 222"/>
                  <a:gd name="T92" fmla="*/ 38 w 312"/>
                  <a:gd name="T93" fmla="*/ 42 h 222"/>
                  <a:gd name="T94" fmla="*/ 33 w 312"/>
                  <a:gd name="T95" fmla="*/ 42 h 222"/>
                  <a:gd name="T96" fmla="*/ 29 w 312"/>
                  <a:gd name="T97" fmla="*/ 42 h 222"/>
                  <a:gd name="T98" fmla="*/ 13 w 312"/>
                  <a:gd name="T99" fmla="*/ 43 h 222"/>
                  <a:gd name="T100" fmla="*/ 13 w 312"/>
                  <a:gd name="T101" fmla="*/ 40 h 222"/>
                  <a:gd name="T102" fmla="*/ 11 w 312"/>
                  <a:gd name="T103" fmla="*/ 39 h 222"/>
                  <a:gd name="T104" fmla="*/ 10 w 312"/>
                  <a:gd name="T105" fmla="*/ 36 h 222"/>
                  <a:gd name="T106" fmla="*/ 8 w 312"/>
                  <a:gd name="T107" fmla="*/ 31 h 222"/>
                  <a:gd name="T108" fmla="*/ 5 w 312"/>
                  <a:gd name="T109" fmla="*/ 28 h 222"/>
                  <a:gd name="T110" fmla="*/ 2 w 312"/>
                  <a:gd name="T111" fmla="*/ 26 h 222"/>
                  <a:gd name="T112" fmla="*/ 8 w 312"/>
                  <a:gd name="T113" fmla="*/ 23 h 222"/>
                  <a:gd name="T114" fmla="*/ 13 w 312"/>
                  <a:gd name="T115" fmla="*/ 16 h 222"/>
                  <a:gd name="T116" fmla="*/ 15 w 312"/>
                  <a:gd name="T117" fmla="*/ 10 h 22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12" h="222">
                    <a:moveTo>
                      <a:pt x="54" y="36"/>
                    </a:moveTo>
                    <a:lnTo>
                      <a:pt x="54" y="30"/>
                    </a:lnTo>
                    <a:lnTo>
                      <a:pt x="60" y="30"/>
                    </a:lnTo>
                    <a:lnTo>
                      <a:pt x="54" y="30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72" y="12"/>
                    </a:lnTo>
                    <a:lnTo>
                      <a:pt x="72" y="6"/>
                    </a:lnTo>
                    <a:lnTo>
                      <a:pt x="72" y="12"/>
                    </a:lnTo>
                    <a:lnTo>
                      <a:pt x="78" y="12"/>
                    </a:lnTo>
                    <a:lnTo>
                      <a:pt x="84" y="12"/>
                    </a:lnTo>
                    <a:lnTo>
                      <a:pt x="90" y="12"/>
                    </a:lnTo>
                    <a:lnTo>
                      <a:pt x="96" y="12"/>
                    </a:lnTo>
                    <a:lnTo>
                      <a:pt x="102" y="12"/>
                    </a:lnTo>
                    <a:lnTo>
                      <a:pt x="102" y="6"/>
                    </a:lnTo>
                    <a:lnTo>
                      <a:pt x="108" y="6"/>
                    </a:lnTo>
                    <a:lnTo>
                      <a:pt x="108" y="12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20" y="6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32" y="0"/>
                    </a:lnTo>
                    <a:lnTo>
                      <a:pt x="132" y="6"/>
                    </a:lnTo>
                    <a:lnTo>
                      <a:pt x="138" y="6"/>
                    </a:lnTo>
                    <a:lnTo>
                      <a:pt x="144" y="6"/>
                    </a:lnTo>
                    <a:lnTo>
                      <a:pt x="150" y="6"/>
                    </a:lnTo>
                    <a:lnTo>
                      <a:pt x="156" y="6"/>
                    </a:lnTo>
                    <a:lnTo>
                      <a:pt x="162" y="6"/>
                    </a:lnTo>
                    <a:lnTo>
                      <a:pt x="168" y="6"/>
                    </a:lnTo>
                    <a:lnTo>
                      <a:pt x="168" y="12"/>
                    </a:lnTo>
                    <a:lnTo>
                      <a:pt x="174" y="12"/>
                    </a:lnTo>
                    <a:lnTo>
                      <a:pt x="174" y="18"/>
                    </a:lnTo>
                    <a:lnTo>
                      <a:pt x="180" y="18"/>
                    </a:lnTo>
                    <a:lnTo>
                      <a:pt x="180" y="24"/>
                    </a:lnTo>
                    <a:lnTo>
                      <a:pt x="186" y="24"/>
                    </a:lnTo>
                    <a:lnTo>
                      <a:pt x="186" y="30"/>
                    </a:lnTo>
                    <a:lnTo>
                      <a:pt x="192" y="30"/>
                    </a:lnTo>
                    <a:lnTo>
                      <a:pt x="198" y="30"/>
                    </a:lnTo>
                    <a:lnTo>
                      <a:pt x="204" y="30"/>
                    </a:lnTo>
                    <a:lnTo>
                      <a:pt x="210" y="36"/>
                    </a:lnTo>
                    <a:lnTo>
                      <a:pt x="210" y="42"/>
                    </a:lnTo>
                    <a:lnTo>
                      <a:pt x="216" y="48"/>
                    </a:lnTo>
                    <a:lnTo>
                      <a:pt x="216" y="54"/>
                    </a:lnTo>
                    <a:lnTo>
                      <a:pt x="222" y="54"/>
                    </a:lnTo>
                    <a:lnTo>
                      <a:pt x="222" y="60"/>
                    </a:lnTo>
                    <a:lnTo>
                      <a:pt x="228" y="60"/>
                    </a:lnTo>
                    <a:lnTo>
                      <a:pt x="228" y="66"/>
                    </a:lnTo>
                    <a:lnTo>
                      <a:pt x="234" y="66"/>
                    </a:lnTo>
                    <a:lnTo>
                      <a:pt x="228" y="66"/>
                    </a:lnTo>
                    <a:lnTo>
                      <a:pt x="234" y="72"/>
                    </a:lnTo>
                    <a:lnTo>
                      <a:pt x="234" y="78"/>
                    </a:lnTo>
                    <a:lnTo>
                      <a:pt x="240" y="78"/>
                    </a:lnTo>
                    <a:lnTo>
                      <a:pt x="246" y="84"/>
                    </a:lnTo>
                    <a:lnTo>
                      <a:pt x="252" y="84"/>
                    </a:lnTo>
                    <a:lnTo>
                      <a:pt x="252" y="90"/>
                    </a:lnTo>
                    <a:lnTo>
                      <a:pt x="258" y="90"/>
                    </a:lnTo>
                    <a:lnTo>
                      <a:pt x="258" y="96"/>
                    </a:lnTo>
                    <a:lnTo>
                      <a:pt x="264" y="96"/>
                    </a:lnTo>
                    <a:lnTo>
                      <a:pt x="264" y="102"/>
                    </a:lnTo>
                    <a:lnTo>
                      <a:pt x="270" y="102"/>
                    </a:lnTo>
                    <a:lnTo>
                      <a:pt x="270" y="108"/>
                    </a:lnTo>
                    <a:lnTo>
                      <a:pt x="264" y="108"/>
                    </a:lnTo>
                    <a:lnTo>
                      <a:pt x="264" y="114"/>
                    </a:lnTo>
                    <a:lnTo>
                      <a:pt x="270" y="114"/>
                    </a:lnTo>
                    <a:lnTo>
                      <a:pt x="270" y="120"/>
                    </a:lnTo>
                    <a:lnTo>
                      <a:pt x="276" y="120"/>
                    </a:lnTo>
                    <a:lnTo>
                      <a:pt x="276" y="126"/>
                    </a:lnTo>
                    <a:lnTo>
                      <a:pt x="276" y="132"/>
                    </a:lnTo>
                    <a:lnTo>
                      <a:pt x="276" y="138"/>
                    </a:lnTo>
                    <a:lnTo>
                      <a:pt x="282" y="138"/>
                    </a:lnTo>
                    <a:lnTo>
                      <a:pt x="282" y="144"/>
                    </a:lnTo>
                    <a:lnTo>
                      <a:pt x="276" y="150"/>
                    </a:lnTo>
                    <a:lnTo>
                      <a:pt x="276" y="156"/>
                    </a:lnTo>
                    <a:lnTo>
                      <a:pt x="282" y="162"/>
                    </a:lnTo>
                    <a:lnTo>
                      <a:pt x="282" y="168"/>
                    </a:lnTo>
                    <a:lnTo>
                      <a:pt x="288" y="168"/>
                    </a:lnTo>
                    <a:lnTo>
                      <a:pt x="294" y="168"/>
                    </a:lnTo>
                    <a:lnTo>
                      <a:pt x="300" y="168"/>
                    </a:lnTo>
                    <a:lnTo>
                      <a:pt x="300" y="174"/>
                    </a:lnTo>
                    <a:lnTo>
                      <a:pt x="300" y="180"/>
                    </a:lnTo>
                    <a:lnTo>
                      <a:pt x="306" y="180"/>
                    </a:lnTo>
                    <a:lnTo>
                      <a:pt x="306" y="186"/>
                    </a:lnTo>
                    <a:lnTo>
                      <a:pt x="312" y="186"/>
                    </a:lnTo>
                    <a:lnTo>
                      <a:pt x="306" y="192"/>
                    </a:lnTo>
                    <a:lnTo>
                      <a:pt x="306" y="198"/>
                    </a:lnTo>
                    <a:lnTo>
                      <a:pt x="306" y="204"/>
                    </a:lnTo>
                    <a:lnTo>
                      <a:pt x="306" y="210"/>
                    </a:lnTo>
                    <a:lnTo>
                      <a:pt x="312" y="210"/>
                    </a:lnTo>
                    <a:lnTo>
                      <a:pt x="306" y="216"/>
                    </a:lnTo>
                    <a:lnTo>
                      <a:pt x="300" y="216"/>
                    </a:lnTo>
                    <a:lnTo>
                      <a:pt x="294" y="216"/>
                    </a:lnTo>
                    <a:lnTo>
                      <a:pt x="288" y="216"/>
                    </a:lnTo>
                    <a:lnTo>
                      <a:pt x="282" y="216"/>
                    </a:lnTo>
                    <a:lnTo>
                      <a:pt x="276" y="216"/>
                    </a:lnTo>
                    <a:lnTo>
                      <a:pt x="270" y="216"/>
                    </a:lnTo>
                    <a:lnTo>
                      <a:pt x="264" y="216"/>
                    </a:lnTo>
                    <a:lnTo>
                      <a:pt x="264" y="222"/>
                    </a:lnTo>
                    <a:lnTo>
                      <a:pt x="258" y="222"/>
                    </a:lnTo>
                    <a:lnTo>
                      <a:pt x="258" y="216"/>
                    </a:lnTo>
                    <a:lnTo>
                      <a:pt x="252" y="216"/>
                    </a:lnTo>
                    <a:lnTo>
                      <a:pt x="246" y="216"/>
                    </a:lnTo>
                    <a:lnTo>
                      <a:pt x="240" y="216"/>
                    </a:lnTo>
                    <a:lnTo>
                      <a:pt x="240" y="210"/>
                    </a:lnTo>
                    <a:lnTo>
                      <a:pt x="234" y="210"/>
                    </a:lnTo>
                    <a:lnTo>
                      <a:pt x="228" y="210"/>
                    </a:lnTo>
                    <a:lnTo>
                      <a:pt x="222" y="210"/>
                    </a:lnTo>
                    <a:lnTo>
                      <a:pt x="228" y="204"/>
                    </a:lnTo>
                    <a:lnTo>
                      <a:pt x="222" y="204"/>
                    </a:lnTo>
                    <a:lnTo>
                      <a:pt x="216" y="204"/>
                    </a:lnTo>
                    <a:lnTo>
                      <a:pt x="210" y="204"/>
                    </a:lnTo>
                    <a:lnTo>
                      <a:pt x="198" y="204"/>
                    </a:lnTo>
                    <a:lnTo>
                      <a:pt x="192" y="204"/>
                    </a:lnTo>
                    <a:lnTo>
                      <a:pt x="138" y="204"/>
                    </a:lnTo>
                    <a:lnTo>
                      <a:pt x="126" y="204"/>
                    </a:lnTo>
                    <a:lnTo>
                      <a:pt x="120" y="204"/>
                    </a:lnTo>
                    <a:lnTo>
                      <a:pt x="114" y="204"/>
                    </a:lnTo>
                    <a:lnTo>
                      <a:pt x="108" y="210"/>
                    </a:lnTo>
                    <a:lnTo>
                      <a:pt x="102" y="210"/>
                    </a:lnTo>
                    <a:lnTo>
                      <a:pt x="96" y="216"/>
                    </a:lnTo>
                    <a:lnTo>
                      <a:pt x="84" y="216"/>
                    </a:lnTo>
                    <a:lnTo>
                      <a:pt x="78" y="210"/>
                    </a:lnTo>
                    <a:lnTo>
                      <a:pt x="72" y="210"/>
                    </a:lnTo>
                    <a:lnTo>
                      <a:pt x="66" y="210"/>
                    </a:lnTo>
                    <a:lnTo>
                      <a:pt x="60" y="216"/>
                    </a:lnTo>
                    <a:lnTo>
                      <a:pt x="54" y="216"/>
                    </a:lnTo>
                    <a:lnTo>
                      <a:pt x="48" y="216"/>
                    </a:lnTo>
                    <a:lnTo>
                      <a:pt x="42" y="216"/>
                    </a:lnTo>
                    <a:lnTo>
                      <a:pt x="42" y="210"/>
                    </a:lnTo>
                    <a:lnTo>
                      <a:pt x="48" y="210"/>
                    </a:lnTo>
                    <a:lnTo>
                      <a:pt x="48" y="204"/>
                    </a:lnTo>
                    <a:lnTo>
                      <a:pt x="54" y="204"/>
                    </a:lnTo>
                    <a:lnTo>
                      <a:pt x="60" y="210"/>
                    </a:lnTo>
                    <a:lnTo>
                      <a:pt x="60" y="204"/>
                    </a:lnTo>
                    <a:lnTo>
                      <a:pt x="54" y="204"/>
                    </a:lnTo>
                    <a:lnTo>
                      <a:pt x="48" y="204"/>
                    </a:lnTo>
                    <a:lnTo>
                      <a:pt x="42" y="204"/>
                    </a:lnTo>
                    <a:lnTo>
                      <a:pt x="42" y="210"/>
                    </a:lnTo>
                    <a:lnTo>
                      <a:pt x="42" y="204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2" y="186"/>
                    </a:lnTo>
                    <a:lnTo>
                      <a:pt x="42" y="180"/>
                    </a:lnTo>
                    <a:lnTo>
                      <a:pt x="60" y="180"/>
                    </a:lnTo>
                    <a:lnTo>
                      <a:pt x="78" y="180"/>
                    </a:lnTo>
                    <a:lnTo>
                      <a:pt x="90" y="180"/>
                    </a:lnTo>
                    <a:lnTo>
                      <a:pt x="90" y="168"/>
                    </a:lnTo>
                    <a:lnTo>
                      <a:pt x="96" y="168"/>
                    </a:lnTo>
                    <a:lnTo>
                      <a:pt x="102" y="168"/>
                    </a:lnTo>
                    <a:lnTo>
                      <a:pt x="108" y="168"/>
                    </a:lnTo>
                    <a:lnTo>
                      <a:pt x="114" y="168"/>
                    </a:lnTo>
                    <a:lnTo>
                      <a:pt x="120" y="168"/>
                    </a:lnTo>
                    <a:lnTo>
                      <a:pt x="120" y="162"/>
                    </a:lnTo>
                    <a:lnTo>
                      <a:pt x="120" y="156"/>
                    </a:lnTo>
                    <a:lnTo>
                      <a:pt x="126" y="156"/>
                    </a:lnTo>
                    <a:lnTo>
                      <a:pt x="126" y="162"/>
                    </a:lnTo>
                    <a:lnTo>
                      <a:pt x="132" y="162"/>
                    </a:lnTo>
                    <a:lnTo>
                      <a:pt x="138" y="162"/>
                    </a:lnTo>
                    <a:lnTo>
                      <a:pt x="138" y="168"/>
                    </a:lnTo>
                    <a:lnTo>
                      <a:pt x="144" y="168"/>
                    </a:lnTo>
                    <a:lnTo>
                      <a:pt x="150" y="168"/>
                    </a:lnTo>
                    <a:lnTo>
                      <a:pt x="156" y="168"/>
                    </a:lnTo>
                    <a:lnTo>
                      <a:pt x="156" y="174"/>
                    </a:lnTo>
                    <a:lnTo>
                      <a:pt x="162" y="174"/>
                    </a:lnTo>
                    <a:lnTo>
                      <a:pt x="168" y="174"/>
                    </a:lnTo>
                    <a:lnTo>
                      <a:pt x="174" y="174"/>
                    </a:lnTo>
                    <a:lnTo>
                      <a:pt x="180" y="174"/>
                    </a:lnTo>
                    <a:lnTo>
                      <a:pt x="180" y="168"/>
                    </a:lnTo>
                    <a:lnTo>
                      <a:pt x="186" y="168"/>
                    </a:lnTo>
                    <a:lnTo>
                      <a:pt x="186" y="162"/>
                    </a:lnTo>
                    <a:lnTo>
                      <a:pt x="180" y="156"/>
                    </a:lnTo>
                    <a:lnTo>
                      <a:pt x="174" y="156"/>
                    </a:lnTo>
                    <a:lnTo>
                      <a:pt x="168" y="162"/>
                    </a:lnTo>
                    <a:lnTo>
                      <a:pt x="162" y="162"/>
                    </a:lnTo>
                    <a:lnTo>
                      <a:pt x="156" y="162"/>
                    </a:lnTo>
                    <a:lnTo>
                      <a:pt x="156" y="156"/>
                    </a:lnTo>
                    <a:lnTo>
                      <a:pt x="150" y="156"/>
                    </a:lnTo>
                    <a:lnTo>
                      <a:pt x="144" y="156"/>
                    </a:lnTo>
                    <a:lnTo>
                      <a:pt x="138" y="156"/>
                    </a:lnTo>
                    <a:lnTo>
                      <a:pt x="138" y="150"/>
                    </a:lnTo>
                    <a:lnTo>
                      <a:pt x="132" y="144"/>
                    </a:lnTo>
                    <a:lnTo>
                      <a:pt x="126" y="144"/>
                    </a:lnTo>
                    <a:lnTo>
                      <a:pt x="120" y="144"/>
                    </a:lnTo>
                    <a:lnTo>
                      <a:pt x="120" y="150"/>
                    </a:lnTo>
                    <a:lnTo>
                      <a:pt x="114" y="150"/>
                    </a:lnTo>
                    <a:lnTo>
                      <a:pt x="114" y="144"/>
                    </a:lnTo>
                    <a:lnTo>
                      <a:pt x="114" y="150"/>
                    </a:lnTo>
                    <a:lnTo>
                      <a:pt x="108" y="150"/>
                    </a:lnTo>
                    <a:lnTo>
                      <a:pt x="102" y="156"/>
                    </a:lnTo>
                    <a:lnTo>
                      <a:pt x="90" y="156"/>
                    </a:lnTo>
                    <a:lnTo>
                      <a:pt x="54" y="156"/>
                    </a:lnTo>
                    <a:lnTo>
                      <a:pt x="48" y="156"/>
                    </a:lnTo>
                    <a:lnTo>
                      <a:pt x="48" y="150"/>
                    </a:lnTo>
                    <a:lnTo>
                      <a:pt x="48" y="144"/>
                    </a:lnTo>
                    <a:lnTo>
                      <a:pt x="54" y="144"/>
                    </a:lnTo>
                    <a:lnTo>
                      <a:pt x="48" y="144"/>
                    </a:lnTo>
                    <a:lnTo>
                      <a:pt x="42" y="144"/>
                    </a:lnTo>
                    <a:lnTo>
                      <a:pt x="42" y="150"/>
                    </a:lnTo>
                    <a:lnTo>
                      <a:pt x="42" y="144"/>
                    </a:lnTo>
                    <a:lnTo>
                      <a:pt x="42" y="138"/>
                    </a:lnTo>
                    <a:lnTo>
                      <a:pt x="42" y="144"/>
                    </a:lnTo>
                    <a:lnTo>
                      <a:pt x="42" y="138"/>
                    </a:lnTo>
                    <a:lnTo>
                      <a:pt x="42" y="132"/>
                    </a:lnTo>
                    <a:lnTo>
                      <a:pt x="36" y="132"/>
                    </a:lnTo>
                    <a:lnTo>
                      <a:pt x="36" y="126"/>
                    </a:lnTo>
                    <a:lnTo>
                      <a:pt x="36" y="120"/>
                    </a:lnTo>
                    <a:lnTo>
                      <a:pt x="30" y="120"/>
                    </a:lnTo>
                    <a:lnTo>
                      <a:pt x="30" y="114"/>
                    </a:lnTo>
                    <a:lnTo>
                      <a:pt x="24" y="114"/>
                    </a:lnTo>
                    <a:lnTo>
                      <a:pt x="24" y="108"/>
                    </a:lnTo>
                    <a:lnTo>
                      <a:pt x="24" y="102"/>
                    </a:lnTo>
                    <a:lnTo>
                      <a:pt x="18" y="102"/>
                    </a:lnTo>
                    <a:lnTo>
                      <a:pt x="12" y="102"/>
                    </a:lnTo>
                    <a:lnTo>
                      <a:pt x="6" y="102"/>
                    </a:lnTo>
                    <a:lnTo>
                      <a:pt x="0" y="96"/>
                    </a:lnTo>
                    <a:lnTo>
                      <a:pt x="6" y="96"/>
                    </a:lnTo>
                    <a:lnTo>
                      <a:pt x="12" y="96"/>
                    </a:lnTo>
                    <a:lnTo>
                      <a:pt x="18" y="90"/>
                    </a:lnTo>
                    <a:lnTo>
                      <a:pt x="24" y="90"/>
                    </a:lnTo>
                    <a:lnTo>
                      <a:pt x="30" y="84"/>
                    </a:lnTo>
                    <a:lnTo>
                      <a:pt x="30" y="78"/>
                    </a:lnTo>
                    <a:lnTo>
                      <a:pt x="36" y="72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48" y="54"/>
                    </a:lnTo>
                    <a:lnTo>
                      <a:pt x="54" y="48"/>
                    </a:lnTo>
                    <a:lnTo>
                      <a:pt x="54" y="42"/>
                    </a:lnTo>
                    <a:lnTo>
                      <a:pt x="54" y="36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1" name="Freeform 107"/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1611" y="1939"/>
                <a:ext cx="291" cy="218"/>
              </a:xfrm>
              <a:custGeom>
                <a:avLst/>
                <a:gdLst>
                  <a:gd name="T0" fmla="*/ 5 w 360"/>
                  <a:gd name="T1" fmla="*/ 15 h 270"/>
                  <a:gd name="T2" fmla="*/ 15 w 360"/>
                  <a:gd name="T3" fmla="*/ 12 h 270"/>
                  <a:gd name="T4" fmla="*/ 15 w 360"/>
                  <a:gd name="T5" fmla="*/ 8 h 270"/>
                  <a:gd name="T6" fmla="*/ 19 w 360"/>
                  <a:gd name="T7" fmla="*/ 5 h 270"/>
                  <a:gd name="T8" fmla="*/ 22 w 360"/>
                  <a:gd name="T9" fmla="*/ 0 h 270"/>
                  <a:gd name="T10" fmla="*/ 28 w 360"/>
                  <a:gd name="T11" fmla="*/ 2 h 270"/>
                  <a:gd name="T12" fmla="*/ 35 w 360"/>
                  <a:gd name="T13" fmla="*/ 5 h 270"/>
                  <a:gd name="T14" fmla="*/ 43 w 360"/>
                  <a:gd name="T15" fmla="*/ 3 h 270"/>
                  <a:gd name="T16" fmla="*/ 47 w 360"/>
                  <a:gd name="T17" fmla="*/ 6 h 270"/>
                  <a:gd name="T18" fmla="*/ 53 w 360"/>
                  <a:gd name="T19" fmla="*/ 5 h 270"/>
                  <a:gd name="T20" fmla="*/ 59 w 360"/>
                  <a:gd name="T21" fmla="*/ 8 h 270"/>
                  <a:gd name="T22" fmla="*/ 63 w 360"/>
                  <a:gd name="T23" fmla="*/ 6 h 270"/>
                  <a:gd name="T24" fmla="*/ 69 w 360"/>
                  <a:gd name="T25" fmla="*/ 6 h 270"/>
                  <a:gd name="T26" fmla="*/ 74 w 360"/>
                  <a:gd name="T27" fmla="*/ 6 h 270"/>
                  <a:gd name="T28" fmla="*/ 77 w 360"/>
                  <a:gd name="T29" fmla="*/ 3 h 270"/>
                  <a:gd name="T30" fmla="*/ 80 w 360"/>
                  <a:gd name="T31" fmla="*/ 3 h 270"/>
                  <a:gd name="T32" fmla="*/ 86 w 360"/>
                  <a:gd name="T33" fmla="*/ 8 h 270"/>
                  <a:gd name="T34" fmla="*/ 87 w 360"/>
                  <a:gd name="T35" fmla="*/ 15 h 270"/>
                  <a:gd name="T36" fmla="*/ 89 w 360"/>
                  <a:gd name="T37" fmla="*/ 20 h 270"/>
                  <a:gd name="T38" fmla="*/ 91 w 360"/>
                  <a:gd name="T39" fmla="*/ 22 h 270"/>
                  <a:gd name="T40" fmla="*/ 92 w 360"/>
                  <a:gd name="T41" fmla="*/ 30 h 270"/>
                  <a:gd name="T42" fmla="*/ 95 w 360"/>
                  <a:gd name="T43" fmla="*/ 35 h 270"/>
                  <a:gd name="T44" fmla="*/ 94 w 360"/>
                  <a:gd name="T45" fmla="*/ 39 h 270"/>
                  <a:gd name="T46" fmla="*/ 94 w 360"/>
                  <a:gd name="T47" fmla="*/ 42 h 270"/>
                  <a:gd name="T48" fmla="*/ 99 w 360"/>
                  <a:gd name="T49" fmla="*/ 43 h 270"/>
                  <a:gd name="T50" fmla="*/ 100 w 360"/>
                  <a:gd name="T51" fmla="*/ 48 h 270"/>
                  <a:gd name="T52" fmla="*/ 99 w 360"/>
                  <a:gd name="T53" fmla="*/ 53 h 270"/>
                  <a:gd name="T54" fmla="*/ 99 w 360"/>
                  <a:gd name="T55" fmla="*/ 59 h 270"/>
                  <a:gd name="T56" fmla="*/ 94 w 360"/>
                  <a:gd name="T57" fmla="*/ 56 h 270"/>
                  <a:gd name="T58" fmla="*/ 94 w 360"/>
                  <a:gd name="T59" fmla="*/ 59 h 270"/>
                  <a:gd name="T60" fmla="*/ 97 w 360"/>
                  <a:gd name="T61" fmla="*/ 63 h 270"/>
                  <a:gd name="T62" fmla="*/ 95 w 360"/>
                  <a:gd name="T63" fmla="*/ 69 h 270"/>
                  <a:gd name="T64" fmla="*/ 89 w 360"/>
                  <a:gd name="T65" fmla="*/ 69 h 270"/>
                  <a:gd name="T66" fmla="*/ 86 w 360"/>
                  <a:gd name="T67" fmla="*/ 73 h 270"/>
                  <a:gd name="T68" fmla="*/ 80 w 360"/>
                  <a:gd name="T69" fmla="*/ 75 h 270"/>
                  <a:gd name="T70" fmla="*/ 75 w 360"/>
                  <a:gd name="T71" fmla="*/ 73 h 270"/>
                  <a:gd name="T72" fmla="*/ 77 w 360"/>
                  <a:gd name="T73" fmla="*/ 65 h 270"/>
                  <a:gd name="T74" fmla="*/ 74 w 360"/>
                  <a:gd name="T75" fmla="*/ 59 h 270"/>
                  <a:gd name="T76" fmla="*/ 73 w 360"/>
                  <a:gd name="T77" fmla="*/ 56 h 270"/>
                  <a:gd name="T78" fmla="*/ 65 w 360"/>
                  <a:gd name="T79" fmla="*/ 56 h 270"/>
                  <a:gd name="T80" fmla="*/ 59 w 360"/>
                  <a:gd name="T81" fmla="*/ 59 h 270"/>
                  <a:gd name="T82" fmla="*/ 62 w 360"/>
                  <a:gd name="T83" fmla="*/ 53 h 270"/>
                  <a:gd name="T84" fmla="*/ 59 w 360"/>
                  <a:gd name="T85" fmla="*/ 47 h 270"/>
                  <a:gd name="T86" fmla="*/ 55 w 360"/>
                  <a:gd name="T87" fmla="*/ 40 h 270"/>
                  <a:gd name="T88" fmla="*/ 40 w 360"/>
                  <a:gd name="T89" fmla="*/ 36 h 270"/>
                  <a:gd name="T90" fmla="*/ 33 w 360"/>
                  <a:gd name="T91" fmla="*/ 42 h 270"/>
                  <a:gd name="T92" fmla="*/ 28 w 360"/>
                  <a:gd name="T93" fmla="*/ 47 h 270"/>
                  <a:gd name="T94" fmla="*/ 23 w 360"/>
                  <a:gd name="T95" fmla="*/ 48 h 270"/>
                  <a:gd name="T96" fmla="*/ 22 w 360"/>
                  <a:gd name="T97" fmla="*/ 48 h 270"/>
                  <a:gd name="T98" fmla="*/ 20 w 360"/>
                  <a:gd name="T99" fmla="*/ 45 h 270"/>
                  <a:gd name="T100" fmla="*/ 17 w 360"/>
                  <a:gd name="T101" fmla="*/ 42 h 270"/>
                  <a:gd name="T102" fmla="*/ 17 w 360"/>
                  <a:gd name="T103" fmla="*/ 39 h 270"/>
                  <a:gd name="T104" fmla="*/ 12 w 360"/>
                  <a:gd name="T105" fmla="*/ 35 h 270"/>
                  <a:gd name="T106" fmla="*/ 8 w 360"/>
                  <a:gd name="T107" fmla="*/ 33 h 270"/>
                  <a:gd name="T108" fmla="*/ 3 w 360"/>
                  <a:gd name="T109" fmla="*/ 28 h 270"/>
                  <a:gd name="T110" fmla="*/ 3 w 360"/>
                  <a:gd name="T111" fmla="*/ 28 h 270"/>
                  <a:gd name="T112" fmla="*/ 2 w 360"/>
                  <a:gd name="T113" fmla="*/ 23 h 270"/>
                  <a:gd name="T114" fmla="*/ 0 w 360"/>
                  <a:gd name="T115" fmla="*/ 22 h 27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60" h="270">
                    <a:moveTo>
                      <a:pt x="0" y="78"/>
                    </a:moveTo>
                    <a:lnTo>
                      <a:pt x="6" y="66"/>
                    </a:lnTo>
                    <a:lnTo>
                      <a:pt x="6" y="60"/>
                    </a:lnTo>
                    <a:lnTo>
                      <a:pt x="12" y="60"/>
                    </a:lnTo>
                    <a:lnTo>
                      <a:pt x="12" y="54"/>
                    </a:lnTo>
                    <a:lnTo>
                      <a:pt x="18" y="54"/>
                    </a:lnTo>
                    <a:lnTo>
                      <a:pt x="30" y="48"/>
                    </a:lnTo>
                    <a:lnTo>
                      <a:pt x="36" y="48"/>
                    </a:lnTo>
                    <a:lnTo>
                      <a:pt x="42" y="48"/>
                    </a:lnTo>
                    <a:lnTo>
                      <a:pt x="48" y="48"/>
                    </a:lnTo>
                    <a:lnTo>
                      <a:pt x="54" y="48"/>
                    </a:lnTo>
                    <a:lnTo>
                      <a:pt x="54" y="42"/>
                    </a:lnTo>
                    <a:lnTo>
                      <a:pt x="54" y="48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60" y="36"/>
                    </a:lnTo>
                    <a:lnTo>
                      <a:pt x="60" y="30"/>
                    </a:lnTo>
                    <a:lnTo>
                      <a:pt x="54" y="30"/>
                    </a:lnTo>
                    <a:lnTo>
                      <a:pt x="54" y="24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90" y="6"/>
                    </a:lnTo>
                    <a:lnTo>
                      <a:pt x="96" y="6"/>
                    </a:lnTo>
                    <a:lnTo>
                      <a:pt x="102" y="6"/>
                    </a:lnTo>
                    <a:lnTo>
                      <a:pt x="108" y="6"/>
                    </a:lnTo>
                    <a:lnTo>
                      <a:pt x="108" y="12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6" y="12"/>
                    </a:lnTo>
                    <a:lnTo>
                      <a:pt x="126" y="18"/>
                    </a:lnTo>
                    <a:lnTo>
                      <a:pt x="132" y="18"/>
                    </a:lnTo>
                    <a:lnTo>
                      <a:pt x="132" y="12"/>
                    </a:lnTo>
                    <a:lnTo>
                      <a:pt x="138" y="12"/>
                    </a:lnTo>
                    <a:lnTo>
                      <a:pt x="144" y="12"/>
                    </a:lnTo>
                    <a:lnTo>
                      <a:pt x="150" y="12"/>
                    </a:lnTo>
                    <a:lnTo>
                      <a:pt x="156" y="12"/>
                    </a:lnTo>
                    <a:lnTo>
                      <a:pt x="162" y="12"/>
                    </a:lnTo>
                    <a:lnTo>
                      <a:pt x="168" y="12"/>
                    </a:lnTo>
                    <a:lnTo>
                      <a:pt x="174" y="12"/>
                    </a:lnTo>
                    <a:lnTo>
                      <a:pt x="174" y="18"/>
                    </a:lnTo>
                    <a:lnTo>
                      <a:pt x="168" y="18"/>
                    </a:lnTo>
                    <a:lnTo>
                      <a:pt x="168" y="24"/>
                    </a:lnTo>
                    <a:lnTo>
                      <a:pt x="174" y="24"/>
                    </a:lnTo>
                    <a:lnTo>
                      <a:pt x="180" y="30"/>
                    </a:lnTo>
                    <a:lnTo>
                      <a:pt x="186" y="30"/>
                    </a:lnTo>
                    <a:lnTo>
                      <a:pt x="186" y="24"/>
                    </a:lnTo>
                    <a:lnTo>
                      <a:pt x="192" y="24"/>
                    </a:lnTo>
                    <a:lnTo>
                      <a:pt x="192" y="18"/>
                    </a:lnTo>
                    <a:lnTo>
                      <a:pt x="192" y="24"/>
                    </a:lnTo>
                    <a:lnTo>
                      <a:pt x="198" y="18"/>
                    </a:lnTo>
                    <a:lnTo>
                      <a:pt x="198" y="24"/>
                    </a:lnTo>
                    <a:lnTo>
                      <a:pt x="204" y="24"/>
                    </a:lnTo>
                    <a:lnTo>
                      <a:pt x="204" y="30"/>
                    </a:lnTo>
                    <a:lnTo>
                      <a:pt x="210" y="30"/>
                    </a:lnTo>
                    <a:lnTo>
                      <a:pt x="210" y="36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222" y="30"/>
                    </a:lnTo>
                    <a:lnTo>
                      <a:pt x="222" y="24"/>
                    </a:lnTo>
                    <a:lnTo>
                      <a:pt x="228" y="24"/>
                    </a:lnTo>
                    <a:lnTo>
                      <a:pt x="228" y="18"/>
                    </a:lnTo>
                    <a:lnTo>
                      <a:pt x="228" y="24"/>
                    </a:lnTo>
                    <a:lnTo>
                      <a:pt x="234" y="18"/>
                    </a:lnTo>
                    <a:lnTo>
                      <a:pt x="234" y="24"/>
                    </a:lnTo>
                    <a:lnTo>
                      <a:pt x="240" y="24"/>
                    </a:lnTo>
                    <a:lnTo>
                      <a:pt x="246" y="24"/>
                    </a:lnTo>
                    <a:lnTo>
                      <a:pt x="252" y="24"/>
                    </a:lnTo>
                    <a:lnTo>
                      <a:pt x="252" y="30"/>
                    </a:lnTo>
                    <a:lnTo>
                      <a:pt x="258" y="30"/>
                    </a:lnTo>
                    <a:lnTo>
                      <a:pt x="264" y="30"/>
                    </a:lnTo>
                    <a:lnTo>
                      <a:pt x="258" y="24"/>
                    </a:lnTo>
                    <a:lnTo>
                      <a:pt x="264" y="24"/>
                    </a:lnTo>
                    <a:lnTo>
                      <a:pt x="270" y="24"/>
                    </a:lnTo>
                    <a:lnTo>
                      <a:pt x="270" y="18"/>
                    </a:lnTo>
                    <a:lnTo>
                      <a:pt x="276" y="18"/>
                    </a:lnTo>
                    <a:lnTo>
                      <a:pt x="282" y="18"/>
                    </a:lnTo>
                    <a:lnTo>
                      <a:pt x="282" y="12"/>
                    </a:lnTo>
                    <a:lnTo>
                      <a:pt x="276" y="12"/>
                    </a:lnTo>
                    <a:lnTo>
                      <a:pt x="276" y="6"/>
                    </a:lnTo>
                    <a:lnTo>
                      <a:pt x="276" y="12"/>
                    </a:lnTo>
                    <a:lnTo>
                      <a:pt x="276" y="6"/>
                    </a:lnTo>
                    <a:lnTo>
                      <a:pt x="282" y="6"/>
                    </a:lnTo>
                    <a:lnTo>
                      <a:pt x="288" y="6"/>
                    </a:lnTo>
                    <a:lnTo>
                      <a:pt x="288" y="12"/>
                    </a:lnTo>
                    <a:lnTo>
                      <a:pt x="294" y="12"/>
                    </a:lnTo>
                    <a:lnTo>
                      <a:pt x="294" y="18"/>
                    </a:lnTo>
                    <a:lnTo>
                      <a:pt x="294" y="24"/>
                    </a:lnTo>
                    <a:lnTo>
                      <a:pt x="300" y="24"/>
                    </a:lnTo>
                    <a:lnTo>
                      <a:pt x="300" y="30"/>
                    </a:lnTo>
                    <a:lnTo>
                      <a:pt x="306" y="30"/>
                    </a:lnTo>
                    <a:lnTo>
                      <a:pt x="306" y="36"/>
                    </a:lnTo>
                    <a:lnTo>
                      <a:pt x="306" y="42"/>
                    </a:lnTo>
                    <a:lnTo>
                      <a:pt x="300" y="48"/>
                    </a:lnTo>
                    <a:lnTo>
                      <a:pt x="306" y="48"/>
                    </a:lnTo>
                    <a:lnTo>
                      <a:pt x="312" y="48"/>
                    </a:lnTo>
                    <a:lnTo>
                      <a:pt x="312" y="54"/>
                    </a:lnTo>
                    <a:lnTo>
                      <a:pt x="312" y="60"/>
                    </a:lnTo>
                    <a:lnTo>
                      <a:pt x="318" y="60"/>
                    </a:lnTo>
                    <a:lnTo>
                      <a:pt x="324" y="60"/>
                    </a:lnTo>
                    <a:lnTo>
                      <a:pt x="324" y="66"/>
                    </a:lnTo>
                    <a:lnTo>
                      <a:pt x="318" y="66"/>
                    </a:lnTo>
                    <a:lnTo>
                      <a:pt x="318" y="72"/>
                    </a:lnTo>
                    <a:lnTo>
                      <a:pt x="312" y="72"/>
                    </a:lnTo>
                    <a:lnTo>
                      <a:pt x="312" y="78"/>
                    </a:lnTo>
                    <a:lnTo>
                      <a:pt x="312" y="84"/>
                    </a:lnTo>
                    <a:lnTo>
                      <a:pt x="318" y="84"/>
                    </a:lnTo>
                    <a:lnTo>
                      <a:pt x="318" y="78"/>
                    </a:lnTo>
                    <a:lnTo>
                      <a:pt x="324" y="78"/>
                    </a:lnTo>
                    <a:lnTo>
                      <a:pt x="330" y="78"/>
                    </a:lnTo>
                    <a:lnTo>
                      <a:pt x="330" y="84"/>
                    </a:lnTo>
                    <a:lnTo>
                      <a:pt x="330" y="90"/>
                    </a:lnTo>
                    <a:lnTo>
                      <a:pt x="330" y="96"/>
                    </a:lnTo>
                    <a:lnTo>
                      <a:pt x="330" y="102"/>
                    </a:lnTo>
                    <a:lnTo>
                      <a:pt x="330" y="108"/>
                    </a:lnTo>
                    <a:lnTo>
                      <a:pt x="336" y="108"/>
                    </a:lnTo>
                    <a:lnTo>
                      <a:pt x="336" y="114"/>
                    </a:lnTo>
                    <a:lnTo>
                      <a:pt x="342" y="114"/>
                    </a:lnTo>
                    <a:lnTo>
                      <a:pt x="348" y="114"/>
                    </a:lnTo>
                    <a:lnTo>
                      <a:pt x="348" y="120"/>
                    </a:lnTo>
                    <a:lnTo>
                      <a:pt x="342" y="126"/>
                    </a:lnTo>
                    <a:lnTo>
                      <a:pt x="336" y="132"/>
                    </a:lnTo>
                    <a:lnTo>
                      <a:pt x="336" y="138"/>
                    </a:lnTo>
                    <a:lnTo>
                      <a:pt x="336" y="132"/>
                    </a:lnTo>
                    <a:lnTo>
                      <a:pt x="336" y="138"/>
                    </a:lnTo>
                    <a:lnTo>
                      <a:pt x="342" y="138"/>
                    </a:lnTo>
                    <a:lnTo>
                      <a:pt x="336" y="138"/>
                    </a:lnTo>
                    <a:lnTo>
                      <a:pt x="342" y="138"/>
                    </a:lnTo>
                    <a:lnTo>
                      <a:pt x="336" y="138"/>
                    </a:lnTo>
                    <a:lnTo>
                      <a:pt x="342" y="138"/>
                    </a:lnTo>
                    <a:lnTo>
                      <a:pt x="336" y="138"/>
                    </a:lnTo>
                    <a:lnTo>
                      <a:pt x="336" y="144"/>
                    </a:lnTo>
                    <a:lnTo>
                      <a:pt x="336" y="150"/>
                    </a:lnTo>
                    <a:lnTo>
                      <a:pt x="336" y="156"/>
                    </a:lnTo>
                    <a:lnTo>
                      <a:pt x="342" y="156"/>
                    </a:lnTo>
                    <a:lnTo>
                      <a:pt x="342" y="162"/>
                    </a:lnTo>
                    <a:lnTo>
                      <a:pt x="348" y="162"/>
                    </a:lnTo>
                    <a:lnTo>
                      <a:pt x="348" y="156"/>
                    </a:lnTo>
                    <a:lnTo>
                      <a:pt x="354" y="156"/>
                    </a:lnTo>
                    <a:lnTo>
                      <a:pt x="354" y="162"/>
                    </a:lnTo>
                    <a:lnTo>
                      <a:pt x="348" y="162"/>
                    </a:lnTo>
                    <a:lnTo>
                      <a:pt x="348" y="168"/>
                    </a:lnTo>
                    <a:lnTo>
                      <a:pt x="348" y="174"/>
                    </a:lnTo>
                    <a:lnTo>
                      <a:pt x="354" y="174"/>
                    </a:lnTo>
                    <a:lnTo>
                      <a:pt x="360" y="174"/>
                    </a:lnTo>
                    <a:lnTo>
                      <a:pt x="354" y="174"/>
                    </a:lnTo>
                    <a:lnTo>
                      <a:pt x="354" y="180"/>
                    </a:lnTo>
                    <a:lnTo>
                      <a:pt x="348" y="180"/>
                    </a:lnTo>
                    <a:lnTo>
                      <a:pt x="348" y="186"/>
                    </a:lnTo>
                    <a:lnTo>
                      <a:pt x="348" y="192"/>
                    </a:lnTo>
                    <a:lnTo>
                      <a:pt x="354" y="192"/>
                    </a:lnTo>
                    <a:lnTo>
                      <a:pt x="360" y="198"/>
                    </a:lnTo>
                    <a:lnTo>
                      <a:pt x="360" y="204"/>
                    </a:lnTo>
                    <a:lnTo>
                      <a:pt x="360" y="210"/>
                    </a:lnTo>
                    <a:lnTo>
                      <a:pt x="354" y="210"/>
                    </a:lnTo>
                    <a:lnTo>
                      <a:pt x="354" y="204"/>
                    </a:lnTo>
                    <a:lnTo>
                      <a:pt x="354" y="210"/>
                    </a:lnTo>
                    <a:lnTo>
                      <a:pt x="348" y="210"/>
                    </a:lnTo>
                    <a:lnTo>
                      <a:pt x="348" y="204"/>
                    </a:lnTo>
                    <a:lnTo>
                      <a:pt x="348" y="210"/>
                    </a:lnTo>
                    <a:lnTo>
                      <a:pt x="348" y="204"/>
                    </a:lnTo>
                    <a:lnTo>
                      <a:pt x="342" y="204"/>
                    </a:lnTo>
                    <a:lnTo>
                      <a:pt x="336" y="204"/>
                    </a:lnTo>
                    <a:lnTo>
                      <a:pt x="336" y="210"/>
                    </a:lnTo>
                    <a:lnTo>
                      <a:pt x="330" y="204"/>
                    </a:lnTo>
                    <a:lnTo>
                      <a:pt x="330" y="210"/>
                    </a:lnTo>
                    <a:lnTo>
                      <a:pt x="336" y="210"/>
                    </a:lnTo>
                    <a:lnTo>
                      <a:pt x="330" y="216"/>
                    </a:lnTo>
                    <a:lnTo>
                      <a:pt x="336" y="216"/>
                    </a:lnTo>
                    <a:lnTo>
                      <a:pt x="330" y="216"/>
                    </a:lnTo>
                    <a:lnTo>
                      <a:pt x="336" y="216"/>
                    </a:lnTo>
                    <a:lnTo>
                      <a:pt x="336" y="222"/>
                    </a:lnTo>
                    <a:lnTo>
                      <a:pt x="342" y="222"/>
                    </a:lnTo>
                    <a:lnTo>
                      <a:pt x="342" y="228"/>
                    </a:lnTo>
                    <a:lnTo>
                      <a:pt x="348" y="228"/>
                    </a:lnTo>
                    <a:lnTo>
                      <a:pt x="342" y="228"/>
                    </a:lnTo>
                    <a:lnTo>
                      <a:pt x="342" y="234"/>
                    </a:lnTo>
                    <a:lnTo>
                      <a:pt x="336" y="234"/>
                    </a:lnTo>
                    <a:lnTo>
                      <a:pt x="336" y="240"/>
                    </a:lnTo>
                    <a:lnTo>
                      <a:pt x="342" y="240"/>
                    </a:lnTo>
                    <a:lnTo>
                      <a:pt x="342" y="246"/>
                    </a:lnTo>
                    <a:lnTo>
                      <a:pt x="336" y="246"/>
                    </a:lnTo>
                    <a:lnTo>
                      <a:pt x="336" y="252"/>
                    </a:lnTo>
                    <a:lnTo>
                      <a:pt x="330" y="252"/>
                    </a:lnTo>
                    <a:lnTo>
                      <a:pt x="324" y="252"/>
                    </a:lnTo>
                    <a:lnTo>
                      <a:pt x="318" y="252"/>
                    </a:lnTo>
                    <a:lnTo>
                      <a:pt x="318" y="246"/>
                    </a:lnTo>
                    <a:lnTo>
                      <a:pt x="312" y="246"/>
                    </a:lnTo>
                    <a:lnTo>
                      <a:pt x="306" y="252"/>
                    </a:lnTo>
                    <a:lnTo>
                      <a:pt x="312" y="252"/>
                    </a:lnTo>
                    <a:lnTo>
                      <a:pt x="306" y="258"/>
                    </a:lnTo>
                    <a:lnTo>
                      <a:pt x="300" y="264"/>
                    </a:lnTo>
                    <a:lnTo>
                      <a:pt x="306" y="264"/>
                    </a:lnTo>
                    <a:lnTo>
                      <a:pt x="300" y="264"/>
                    </a:lnTo>
                    <a:lnTo>
                      <a:pt x="306" y="264"/>
                    </a:lnTo>
                    <a:lnTo>
                      <a:pt x="300" y="264"/>
                    </a:lnTo>
                    <a:lnTo>
                      <a:pt x="294" y="264"/>
                    </a:lnTo>
                    <a:lnTo>
                      <a:pt x="294" y="270"/>
                    </a:lnTo>
                    <a:lnTo>
                      <a:pt x="288" y="270"/>
                    </a:lnTo>
                    <a:lnTo>
                      <a:pt x="288" y="264"/>
                    </a:lnTo>
                    <a:lnTo>
                      <a:pt x="282" y="264"/>
                    </a:lnTo>
                    <a:lnTo>
                      <a:pt x="282" y="258"/>
                    </a:lnTo>
                    <a:lnTo>
                      <a:pt x="276" y="258"/>
                    </a:lnTo>
                    <a:lnTo>
                      <a:pt x="270" y="258"/>
                    </a:lnTo>
                    <a:lnTo>
                      <a:pt x="270" y="264"/>
                    </a:lnTo>
                    <a:lnTo>
                      <a:pt x="270" y="258"/>
                    </a:lnTo>
                    <a:lnTo>
                      <a:pt x="276" y="258"/>
                    </a:lnTo>
                    <a:lnTo>
                      <a:pt x="276" y="252"/>
                    </a:lnTo>
                    <a:lnTo>
                      <a:pt x="276" y="246"/>
                    </a:lnTo>
                    <a:lnTo>
                      <a:pt x="276" y="240"/>
                    </a:lnTo>
                    <a:lnTo>
                      <a:pt x="276" y="234"/>
                    </a:lnTo>
                    <a:lnTo>
                      <a:pt x="276" y="228"/>
                    </a:lnTo>
                    <a:lnTo>
                      <a:pt x="270" y="228"/>
                    </a:lnTo>
                    <a:lnTo>
                      <a:pt x="270" y="222"/>
                    </a:lnTo>
                    <a:lnTo>
                      <a:pt x="270" y="216"/>
                    </a:lnTo>
                    <a:lnTo>
                      <a:pt x="270" y="210"/>
                    </a:lnTo>
                    <a:lnTo>
                      <a:pt x="264" y="210"/>
                    </a:lnTo>
                    <a:lnTo>
                      <a:pt x="264" y="204"/>
                    </a:lnTo>
                    <a:lnTo>
                      <a:pt x="258" y="204"/>
                    </a:lnTo>
                    <a:lnTo>
                      <a:pt x="258" y="210"/>
                    </a:lnTo>
                    <a:lnTo>
                      <a:pt x="258" y="204"/>
                    </a:lnTo>
                    <a:lnTo>
                      <a:pt x="252" y="204"/>
                    </a:lnTo>
                    <a:lnTo>
                      <a:pt x="258" y="204"/>
                    </a:lnTo>
                    <a:lnTo>
                      <a:pt x="252" y="204"/>
                    </a:lnTo>
                    <a:lnTo>
                      <a:pt x="246" y="204"/>
                    </a:lnTo>
                    <a:lnTo>
                      <a:pt x="246" y="210"/>
                    </a:lnTo>
                    <a:lnTo>
                      <a:pt x="240" y="210"/>
                    </a:lnTo>
                    <a:lnTo>
                      <a:pt x="240" y="204"/>
                    </a:lnTo>
                    <a:lnTo>
                      <a:pt x="234" y="204"/>
                    </a:lnTo>
                    <a:lnTo>
                      <a:pt x="228" y="204"/>
                    </a:lnTo>
                    <a:lnTo>
                      <a:pt x="222" y="210"/>
                    </a:lnTo>
                    <a:lnTo>
                      <a:pt x="222" y="216"/>
                    </a:lnTo>
                    <a:lnTo>
                      <a:pt x="216" y="216"/>
                    </a:lnTo>
                    <a:lnTo>
                      <a:pt x="210" y="210"/>
                    </a:lnTo>
                    <a:lnTo>
                      <a:pt x="210" y="216"/>
                    </a:lnTo>
                    <a:lnTo>
                      <a:pt x="210" y="210"/>
                    </a:lnTo>
                    <a:lnTo>
                      <a:pt x="210" y="204"/>
                    </a:lnTo>
                    <a:lnTo>
                      <a:pt x="216" y="204"/>
                    </a:lnTo>
                    <a:lnTo>
                      <a:pt x="216" y="198"/>
                    </a:lnTo>
                    <a:lnTo>
                      <a:pt x="222" y="198"/>
                    </a:lnTo>
                    <a:lnTo>
                      <a:pt x="222" y="192"/>
                    </a:lnTo>
                    <a:lnTo>
                      <a:pt x="216" y="192"/>
                    </a:lnTo>
                    <a:lnTo>
                      <a:pt x="216" y="186"/>
                    </a:lnTo>
                    <a:lnTo>
                      <a:pt x="216" y="180"/>
                    </a:lnTo>
                    <a:lnTo>
                      <a:pt x="216" y="174"/>
                    </a:lnTo>
                    <a:lnTo>
                      <a:pt x="210" y="174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04" y="162"/>
                    </a:lnTo>
                    <a:lnTo>
                      <a:pt x="204" y="156"/>
                    </a:lnTo>
                    <a:lnTo>
                      <a:pt x="204" y="150"/>
                    </a:lnTo>
                    <a:lnTo>
                      <a:pt x="198" y="150"/>
                    </a:lnTo>
                    <a:lnTo>
                      <a:pt x="198" y="144"/>
                    </a:lnTo>
                    <a:lnTo>
                      <a:pt x="192" y="138"/>
                    </a:lnTo>
                    <a:lnTo>
                      <a:pt x="186" y="138"/>
                    </a:lnTo>
                    <a:lnTo>
                      <a:pt x="186" y="132"/>
                    </a:lnTo>
                    <a:lnTo>
                      <a:pt x="150" y="132"/>
                    </a:lnTo>
                    <a:lnTo>
                      <a:pt x="138" y="138"/>
                    </a:lnTo>
                    <a:lnTo>
                      <a:pt x="138" y="132"/>
                    </a:lnTo>
                    <a:lnTo>
                      <a:pt x="132" y="132"/>
                    </a:lnTo>
                    <a:lnTo>
                      <a:pt x="132" y="138"/>
                    </a:lnTo>
                    <a:lnTo>
                      <a:pt x="126" y="138"/>
                    </a:lnTo>
                    <a:lnTo>
                      <a:pt x="120" y="138"/>
                    </a:lnTo>
                    <a:lnTo>
                      <a:pt x="120" y="144"/>
                    </a:lnTo>
                    <a:lnTo>
                      <a:pt x="120" y="150"/>
                    </a:lnTo>
                    <a:lnTo>
                      <a:pt x="114" y="150"/>
                    </a:lnTo>
                    <a:lnTo>
                      <a:pt x="114" y="156"/>
                    </a:lnTo>
                    <a:lnTo>
                      <a:pt x="114" y="162"/>
                    </a:lnTo>
                    <a:lnTo>
                      <a:pt x="108" y="162"/>
                    </a:lnTo>
                    <a:lnTo>
                      <a:pt x="108" y="168"/>
                    </a:lnTo>
                    <a:lnTo>
                      <a:pt x="102" y="168"/>
                    </a:lnTo>
                    <a:lnTo>
                      <a:pt x="96" y="168"/>
                    </a:lnTo>
                    <a:lnTo>
                      <a:pt x="96" y="174"/>
                    </a:lnTo>
                    <a:lnTo>
                      <a:pt x="96" y="180"/>
                    </a:lnTo>
                    <a:lnTo>
                      <a:pt x="90" y="180"/>
                    </a:lnTo>
                    <a:lnTo>
                      <a:pt x="90" y="174"/>
                    </a:lnTo>
                    <a:lnTo>
                      <a:pt x="84" y="174"/>
                    </a:lnTo>
                    <a:lnTo>
                      <a:pt x="78" y="180"/>
                    </a:lnTo>
                    <a:lnTo>
                      <a:pt x="78" y="174"/>
                    </a:lnTo>
                    <a:lnTo>
                      <a:pt x="84" y="174"/>
                    </a:lnTo>
                    <a:lnTo>
                      <a:pt x="84" y="168"/>
                    </a:lnTo>
                    <a:lnTo>
                      <a:pt x="84" y="174"/>
                    </a:lnTo>
                    <a:lnTo>
                      <a:pt x="78" y="174"/>
                    </a:lnTo>
                    <a:lnTo>
                      <a:pt x="78" y="168"/>
                    </a:lnTo>
                    <a:lnTo>
                      <a:pt x="78" y="162"/>
                    </a:lnTo>
                    <a:lnTo>
                      <a:pt x="78" y="168"/>
                    </a:lnTo>
                    <a:lnTo>
                      <a:pt x="72" y="162"/>
                    </a:lnTo>
                    <a:lnTo>
                      <a:pt x="78" y="162"/>
                    </a:lnTo>
                    <a:lnTo>
                      <a:pt x="72" y="162"/>
                    </a:lnTo>
                    <a:lnTo>
                      <a:pt x="72" y="156"/>
                    </a:lnTo>
                    <a:lnTo>
                      <a:pt x="66" y="156"/>
                    </a:lnTo>
                    <a:lnTo>
                      <a:pt x="66" y="150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6" y="150"/>
                    </a:lnTo>
                    <a:lnTo>
                      <a:pt x="66" y="144"/>
                    </a:lnTo>
                    <a:lnTo>
                      <a:pt x="66" y="138"/>
                    </a:lnTo>
                    <a:lnTo>
                      <a:pt x="66" y="144"/>
                    </a:lnTo>
                    <a:lnTo>
                      <a:pt x="60" y="144"/>
                    </a:lnTo>
                    <a:lnTo>
                      <a:pt x="60" y="138"/>
                    </a:lnTo>
                    <a:lnTo>
                      <a:pt x="60" y="132"/>
                    </a:lnTo>
                    <a:lnTo>
                      <a:pt x="60" y="138"/>
                    </a:lnTo>
                    <a:lnTo>
                      <a:pt x="54" y="138"/>
                    </a:lnTo>
                    <a:lnTo>
                      <a:pt x="48" y="132"/>
                    </a:lnTo>
                    <a:lnTo>
                      <a:pt x="42" y="132"/>
                    </a:lnTo>
                    <a:lnTo>
                      <a:pt x="42" y="126"/>
                    </a:lnTo>
                    <a:lnTo>
                      <a:pt x="42" y="120"/>
                    </a:lnTo>
                    <a:lnTo>
                      <a:pt x="42" y="126"/>
                    </a:lnTo>
                    <a:lnTo>
                      <a:pt x="36" y="126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30" y="120"/>
                    </a:lnTo>
                    <a:lnTo>
                      <a:pt x="24" y="120"/>
                    </a:lnTo>
                    <a:lnTo>
                      <a:pt x="24" y="114"/>
                    </a:lnTo>
                    <a:lnTo>
                      <a:pt x="18" y="114"/>
                    </a:lnTo>
                    <a:lnTo>
                      <a:pt x="18" y="108"/>
                    </a:lnTo>
                    <a:lnTo>
                      <a:pt x="12" y="108"/>
                    </a:lnTo>
                    <a:lnTo>
                      <a:pt x="12" y="102"/>
                    </a:lnTo>
                    <a:lnTo>
                      <a:pt x="18" y="102"/>
                    </a:lnTo>
                    <a:lnTo>
                      <a:pt x="18" y="96"/>
                    </a:lnTo>
                    <a:lnTo>
                      <a:pt x="18" y="90"/>
                    </a:lnTo>
                    <a:lnTo>
                      <a:pt x="18" y="96"/>
                    </a:lnTo>
                    <a:lnTo>
                      <a:pt x="12" y="96"/>
                    </a:lnTo>
                    <a:lnTo>
                      <a:pt x="12" y="102"/>
                    </a:lnTo>
                    <a:lnTo>
                      <a:pt x="12" y="96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6" y="96"/>
                    </a:lnTo>
                    <a:lnTo>
                      <a:pt x="6" y="90"/>
                    </a:lnTo>
                    <a:lnTo>
                      <a:pt x="6" y="84"/>
                    </a:lnTo>
                    <a:lnTo>
                      <a:pt x="12" y="84"/>
                    </a:lnTo>
                    <a:lnTo>
                      <a:pt x="12" y="78"/>
                    </a:lnTo>
                    <a:lnTo>
                      <a:pt x="12" y="84"/>
                    </a:lnTo>
                    <a:lnTo>
                      <a:pt x="6" y="84"/>
                    </a:lnTo>
                    <a:lnTo>
                      <a:pt x="0" y="84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2" name="Freeform 108"/>
              <p:cNvSpPr>
                <a:spLocks noChangeAspect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1674" y="2046"/>
                <a:ext cx="121" cy="120"/>
              </a:xfrm>
              <a:custGeom>
                <a:avLst/>
                <a:gdLst>
                  <a:gd name="T0" fmla="*/ 3 w 150"/>
                  <a:gd name="T1" fmla="*/ 11 h 150"/>
                  <a:gd name="T2" fmla="*/ 5 w 150"/>
                  <a:gd name="T3" fmla="*/ 11 h 150"/>
                  <a:gd name="T4" fmla="*/ 8 w 150"/>
                  <a:gd name="T5" fmla="*/ 9 h 150"/>
                  <a:gd name="T6" fmla="*/ 10 w 150"/>
                  <a:gd name="T7" fmla="*/ 6 h 150"/>
                  <a:gd name="T8" fmla="*/ 12 w 150"/>
                  <a:gd name="T9" fmla="*/ 3 h 150"/>
                  <a:gd name="T10" fmla="*/ 15 w 150"/>
                  <a:gd name="T11" fmla="*/ 2 h 150"/>
                  <a:gd name="T12" fmla="*/ 16 w 150"/>
                  <a:gd name="T13" fmla="*/ 2 h 150"/>
                  <a:gd name="T14" fmla="*/ 29 w 150"/>
                  <a:gd name="T15" fmla="*/ 2 h 150"/>
                  <a:gd name="T16" fmla="*/ 33 w 150"/>
                  <a:gd name="T17" fmla="*/ 5 h 150"/>
                  <a:gd name="T18" fmla="*/ 35 w 150"/>
                  <a:gd name="T19" fmla="*/ 8 h 150"/>
                  <a:gd name="T20" fmla="*/ 36 w 150"/>
                  <a:gd name="T21" fmla="*/ 11 h 150"/>
                  <a:gd name="T22" fmla="*/ 39 w 150"/>
                  <a:gd name="T23" fmla="*/ 14 h 150"/>
                  <a:gd name="T24" fmla="*/ 40 w 150"/>
                  <a:gd name="T25" fmla="*/ 18 h 150"/>
                  <a:gd name="T26" fmla="*/ 36 w 150"/>
                  <a:gd name="T27" fmla="*/ 19 h 150"/>
                  <a:gd name="T28" fmla="*/ 36 w 150"/>
                  <a:gd name="T29" fmla="*/ 21 h 150"/>
                  <a:gd name="T30" fmla="*/ 40 w 150"/>
                  <a:gd name="T31" fmla="*/ 21 h 150"/>
                  <a:gd name="T32" fmla="*/ 42 w 150"/>
                  <a:gd name="T33" fmla="*/ 22 h 150"/>
                  <a:gd name="T34" fmla="*/ 39 w 150"/>
                  <a:gd name="T35" fmla="*/ 26 h 150"/>
                  <a:gd name="T36" fmla="*/ 36 w 150"/>
                  <a:gd name="T37" fmla="*/ 30 h 150"/>
                  <a:gd name="T38" fmla="*/ 33 w 150"/>
                  <a:gd name="T39" fmla="*/ 32 h 150"/>
                  <a:gd name="T40" fmla="*/ 29 w 150"/>
                  <a:gd name="T41" fmla="*/ 34 h 150"/>
                  <a:gd name="T42" fmla="*/ 28 w 150"/>
                  <a:gd name="T43" fmla="*/ 38 h 150"/>
                  <a:gd name="T44" fmla="*/ 23 w 150"/>
                  <a:gd name="T45" fmla="*/ 38 h 150"/>
                  <a:gd name="T46" fmla="*/ 15 w 150"/>
                  <a:gd name="T47" fmla="*/ 34 h 150"/>
                  <a:gd name="T48" fmla="*/ 13 w 150"/>
                  <a:gd name="T49" fmla="*/ 34 h 150"/>
                  <a:gd name="T50" fmla="*/ 12 w 150"/>
                  <a:gd name="T51" fmla="*/ 34 h 150"/>
                  <a:gd name="T52" fmla="*/ 13 w 150"/>
                  <a:gd name="T53" fmla="*/ 32 h 150"/>
                  <a:gd name="T54" fmla="*/ 13 w 150"/>
                  <a:gd name="T55" fmla="*/ 30 h 150"/>
                  <a:gd name="T56" fmla="*/ 12 w 150"/>
                  <a:gd name="T57" fmla="*/ 30 h 150"/>
                  <a:gd name="T58" fmla="*/ 8 w 150"/>
                  <a:gd name="T59" fmla="*/ 30 h 150"/>
                  <a:gd name="T60" fmla="*/ 6 w 150"/>
                  <a:gd name="T61" fmla="*/ 27 h 150"/>
                  <a:gd name="T62" fmla="*/ 8 w 150"/>
                  <a:gd name="T63" fmla="*/ 27 h 150"/>
                  <a:gd name="T64" fmla="*/ 6 w 150"/>
                  <a:gd name="T65" fmla="*/ 24 h 150"/>
                  <a:gd name="T66" fmla="*/ 3 w 150"/>
                  <a:gd name="T67" fmla="*/ 22 h 150"/>
                  <a:gd name="T68" fmla="*/ 2 w 150"/>
                  <a:gd name="T69" fmla="*/ 22 h 150"/>
                  <a:gd name="T70" fmla="*/ 3 w 150"/>
                  <a:gd name="T71" fmla="*/ 19 h 150"/>
                  <a:gd name="T72" fmla="*/ 3 w 150"/>
                  <a:gd name="T73" fmla="*/ 21 h 150"/>
                  <a:gd name="T74" fmla="*/ 6 w 150"/>
                  <a:gd name="T75" fmla="*/ 19 h 150"/>
                  <a:gd name="T76" fmla="*/ 3 w 150"/>
                  <a:gd name="T77" fmla="*/ 19 h 150"/>
                  <a:gd name="T78" fmla="*/ 2 w 150"/>
                  <a:gd name="T79" fmla="*/ 19 h 150"/>
                  <a:gd name="T80" fmla="*/ 2 w 150"/>
                  <a:gd name="T81" fmla="*/ 18 h 150"/>
                  <a:gd name="T82" fmla="*/ 3 w 150"/>
                  <a:gd name="T83" fmla="*/ 14 h 150"/>
                  <a:gd name="T84" fmla="*/ 2 w 150"/>
                  <a:gd name="T85" fmla="*/ 14 h 15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50" h="150">
                    <a:moveTo>
                      <a:pt x="0" y="48"/>
                    </a:moveTo>
                    <a:lnTo>
                      <a:pt x="6" y="42"/>
                    </a:lnTo>
                    <a:lnTo>
                      <a:pt x="12" y="42"/>
                    </a:lnTo>
                    <a:lnTo>
                      <a:pt x="12" y="48"/>
                    </a:lnTo>
                    <a:lnTo>
                      <a:pt x="18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30" y="36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54" y="6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72" y="0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26" y="18"/>
                    </a:lnTo>
                    <a:lnTo>
                      <a:pt x="126" y="24"/>
                    </a:lnTo>
                    <a:lnTo>
                      <a:pt x="126" y="30"/>
                    </a:lnTo>
                    <a:lnTo>
                      <a:pt x="132" y="30"/>
                    </a:lnTo>
                    <a:lnTo>
                      <a:pt x="132" y="36"/>
                    </a:lnTo>
                    <a:lnTo>
                      <a:pt x="132" y="42"/>
                    </a:lnTo>
                    <a:lnTo>
                      <a:pt x="138" y="42"/>
                    </a:lnTo>
                    <a:lnTo>
                      <a:pt x="138" y="48"/>
                    </a:lnTo>
                    <a:lnTo>
                      <a:pt x="138" y="54"/>
                    </a:lnTo>
                    <a:lnTo>
                      <a:pt x="138" y="60"/>
                    </a:lnTo>
                    <a:lnTo>
                      <a:pt x="144" y="60"/>
                    </a:lnTo>
                    <a:lnTo>
                      <a:pt x="144" y="66"/>
                    </a:lnTo>
                    <a:lnTo>
                      <a:pt x="138" y="66"/>
                    </a:lnTo>
                    <a:lnTo>
                      <a:pt x="138" y="72"/>
                    </a:lnTo>
                    <a:lnTo>
                      <a:pt x="132" y="72"/>
                    </a:lnTo>
                    <a:lnTo>
                      <a:pt x="132" y="78"/>
                    </a:lnTo>
                    <a:lnTo>
                      <a:pt x="132" y="84"/>
                    </a:lnTo>
                    <a:lnTo>
                      <a:pt x="132" y="78"/>
                    </a:lnTo>
                    <a:lnTo>
                      <a:pt x="138" y="84"/>
                    </a:lnTo>
                    <a:lnTo>
                      <a:pt x="144" y="84"/>
                    </a:lnTo>
                    <a:lnTo>
                      <a:pt x="144" y="78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50" y="84"/>
                    </a:lnTo>
                    <a:lnTo>
                      <a:pt x="150" y="90"/>
                    </a:lnTo>
                    <a:lnTo>
                      <a:pt x="144" y="90"/>
                    </a:lnTo>
                    <a:lnTo>
                      <a:pt x="138" y="96"/>
                    </a:lnTo>
                    <a:lnTo>
                      <a:pt x="138" y="108"/>
                    </a:lnTo>
                    <a:lnTo>
                      <a:pt x="132" y="108"/>
                    </a:lnTo>
                    <a:lnTo>
                      <a:pt x="132" y="114"/>
                    </a:lnTo>
                    <a:lnTo>
                      <a:pt x="126" y="114"/>
                    </a:lnTo>
                    <a:lnTo>
                      <a:pt x="126" y="120"/>
                    </a:lnTo>
                    <a:lnTo>
                      <a:pt x="120" y="120"/>
                    </a:lnTo>
                    <a:lnTo>
                      <a:pt x="120" y="126"/>
                    </a:lnTo>
                    <a:lnTo>
                      <a:pt x="114" y="126"/>
                    </a:lnTo>
                    <a:lnTo>
                      <a:pt x="108" y="132"/>
                    </a:lnTo>
                    <a:lnTo>
                      <a:pt x="108" y="138"/>
                    </a:lnTo>
                    <a:lnTo>
                      <a:pt x="102" y="138"/>
                    </a:lnTo>
                    <a:lnTo>
                      <a:pt x="102" y="144"/>
                    </a:lnTo>
                    <a:lnTo>
                      <a:pt x="96" y="150"/>
                    </a:lnTo>
                    <a:lnTo>
                      <a:pt x="90" y="150"/>
                    </a:lnTo>
                    <a:lnTo>
                      <a:pt x="84" y="144"/>
                    </a:lnTo>
                    <a:lnTo>
                      <a:pt x="78" y="144"/>
                    </a:lnTo>
                    <a:lnTo>
                      <a:pt x="72" y="138"/>
                    </a:lnTo>
                    <a:lnTo>
                      <a:pt x="54" y="132"/>
                    </a:lnTo>
                    <a:lnTo>
                      <a:pt x="48" y="132"/>
                    </a:lnTo>
                    <a:lnTo>
                      <a:pt x="42" y="126"/>
                    </a:lnTo>
                    <a:lnTo>
                      <a:pt x="48" y="126"/>
                    </a:lnTo>
                    <a:lnTo>
                      <a:pt x="54" y="126"/>
                    </a:lnTo>
                    <a:lnTo>
                      <a:pt x="48" y="126"/>
                    </a:lnTo>
                    <a:lnTo>
                      <a:pt x="42" y="126"/>
                    </a:lnTo>
                    <a:lnTo>
                      <a:pt x="48" y="120"/>
                    </a:lnTo>
                    <a:lnTo>
                      <a:pt x="54" y="120"/>
                    </a:lnTo>
                    <a:lnTo>
                      <a:pt x="48" y="120"/>
                    </a:lnTo>
                    <a:lnTo>
                      <a:pt x="42" y="120"/>
                    </a:lnTo>
                    <a:lnTo>
                      <a:pt x="42" y="114"/>
                    </a:lnTo>
                    <a:lnTo>
                      <a:pt x="48" y="114"/>
                    </a:lnTo>
                    <a:lnTo>
                      <a:pt x="42" y="114"/>
                    </a:lnTo>
                    <a:lnTo>
                      <a:pt x="42" y="108"/>
                    </a:lnTo>
                    <a:lnTo>
                      <a:pt x="42" y="114"/>
                    </a:lnTo>
                    <a:lnTo>
                      <a:pt x="42" y="108"/>
                    </a:lnTo>
                    <a:lnTo>
                      <a:pt x="36" y="114"/>
                    </a:lnTo>
                    <a:lnTo>
                      <a:pt x="30" y="114"/>
                    </a:lnTo>
                    <a:lnTo>
                      <a:pt x="30" y="108"/>
                    </a:lnTo>
                    <a:lnTo>
                      <a:pt x="24" y="108"/>
                    </a:lnTo>
                    <a:lnTo>
                      <a:pt x="24" y="102"/>
                    </a:lnTo>
                    <a:lnTo>
                      <a:pt x="18" y="102"/>
                    </a:lnTo>
                    <a:lnTo>
                      <a:pt x="24" y="102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24" y="96"/>
                    </a:lnTo>
                    <a:lnTo>
                      <a:pt x="24" y="90"/>
                    </a:lnTo>
                    <a:lnTo>
                      <a:pt x="18" y="90"/>
                    </a:lnTo>
                    <a:lnTo>
                      <a:pt x="18" y="84"/>
                    </a:lnTo>
                    <a:lnTo>
                      <a:pt x="12" y="84"/>
                    </a:lnTo>
                    <a:lnTo>
                      <a:pt x="12" y="90"/>
                    </a:lnTo>
                    <a:lnTo>
                      <a:pt x="12" y="84"/>
                    </a:lnTo>
                    <a:lnTo>
                      <a:pt x="6" y="84"/>
                    </a:lnTo>
                    <a:lnTo>
                      <a:pt x="6" y="78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12" y="78"/>
                    </a:lnTo>
                    <a:lnTo>
                      <a:pt x="12" y="72"/>
                    </a:lnTo>
                    <a:lnTo>
                      <a:pt x="12" y="78"/>
                    </a:lnTo>
                    <a:lnTo>
                      <a:pt x="12" y="72"/>
                    </a:lnTo>
                    <a:lnTo>
                      <a:pt x="18" y="72"/>
                    </a:lnTo>
                    <a:lnTo>
                      <a:pt x="24" y="72"/>
                    </a:lnTo>
                    <a:lnTo>
                      <a:pt x="18" y="72"/>
                    </a:lnTo>
                    <a:lnTo>
                      <a:pt x="18" y="66"/>
                    </a:lnTo>
                    <a:lnTo>
                      <a:pt x="12" y="72"/>
                    </a:lnTo>
                    <a:lnTo>
                      <a:pt x="12" y="66"/>
                    </a:lnTo>
                    <a:lnTo>
                      <a:pt x="12" y="72"/>
                    </a:lnTo>
                    <a:lnTo>
                      <a:pt x="6" y="72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6" y="54"/>
                    </a:lnTo>
                    <a:lnTo>
                      <a:pt x="6" y="48"/>
                    </a:lnTo>
                    <a:lnTo>
                      <a:pt x="6" y="54"/>
                    </a:lnTo>
                    <a:lnTo>
                      <a:pt x="6" y="48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3" name="Freeform 109"/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989" y="1842"/>
                <a:ext cx="318" cy="228"/>
              </a:xfrm>
              <a:custGeom>
                <a:avLst/>
                <a:gdLst>
                  <a:gd name="T0" fmla="*/ 2 w 396"/>
                  <a:gd name="T1" fmla="*/ 59 h 282"/>
                  <a:gd name="T2" fmla="*/ 3 w 396"/>
                  <a:gd name="T3" fmla="*/ 53 h 282"/>
                  <a:gd name="T4" fmla="*/ 5 w 396"/>
                  <a:gd name="T5" fmla="*/ 49 h 282"/>
                  <a:gd name="T6" fmla="*/ 3 w 396"/>
                  <a:gd name="T7" fmla="*/ 46 h 282"/>
                  <a:gd name="T8" fmla="*/ 3 w 396"/>
                  <a:gd name="T9" fmla="*/ 46 h 282"/>
                  <a:gd name="T10" fmla="*/ 8 w 396"/>
                  <a:gd name="T11" fmla="*/ 42 h 282"/>
                  <a:gd name="T12" fmla="*/ 13 w 396"/>
                  <a:gd name="T13" fmla="*/ 40 h 282"/>
                  <a:gd name="T14" fmla="*/ 13 w 396"/>
                  <a:gd name="T15" fmla="*/ 33 h 282"/>
                  <a:gd name="T16" fmla="*/ 18 w 396"/>
                  <a:gd name="T17" fmla="*/ 30 h 282"/>
                  <a:gd name="T18" fmla="*/ 18 w 396"/>
                  <a:gd name="T19" fmla="*/ 26 h 282"/>
                  <a:gd name="T20" fmla="*/ 20 w 396"/>
                  <a:gd name="T21" fmla="*/ 22 h 282"/>
                  <a:gd name="T22" fmla="*/ 26 w 396"/>
                  <a:gd name="T23" fmla="*/ 26 h 282"/>
                  <a:gd name="T24" fmla="*/ 31 w 396"/>
                  <a:gd name="T25" fmla="*/ 22 h 282"/>
                  <a:gd name="T26" fmla="*/ 31 w 396"/>
                  <a:gd name="T27" fmla="*/ 19 h 282"/>
                  <a:gd name="T28" fmla="*/ 35 w 396"/>
                  <a:gd name="T29" fmla="*/ 19 h 282"/>
                  <a:gd name="T30" fmla="*/ 40 w 396"/>
                  <a:gd name="T31" fmla="*/ 10 h 282"/>
                  <a:gd name="T32" fmla="*/ 48 w 396"/>
                  <a:gd name="T33" fmla="*/ 8 h 282"/>
                  <a:gd name="T34" fmla="*/ 61 w 396"/>
                  <a:gd name="T35" fmla="*/ 2 h 282"/>
                  <a:gd name="T36" fmla="*/ 74 w 396"/>
                  <a:gd name="T37" fmla="*/ 2 h 282"/>
                  <a:gd name="T38" fmla="*/ 75 w 396"/>
                  <a:gd name="T39" fmla="*/ 3 h 282"/>
                  <a:gd name="T40" fmla="*/ 80 w 396"/>
                  <a:gd name="T41" fmla="*/ 10 h 282"/>
                  <a:gd name="T42" fmla="*/ 80 w 396"/>
                  <a:gd name="T43" fmla="*/ 17 h 282"/>
                  <a:gd name="T44" fmla="*/ 86 w 396"/>
                  <a:gd name="T45" fmla="*/ 20 h 282"/>
                  <a:gd name="T46" fmla="*/ 90 w 396"/>
                  <a:gd name="T47" fmla="*/ 23 h 282"/>
                  <a:gd name="T48" fmla="*/ 95 w 396"/>
                  <a:gd name="T49" fmla="*/ 33 h 282"/>
                  <a:gd name="T50" fmla="*/ 103 w 396"/>
                  <a:gd name="T51" fmla="*/ 33 h 282"/>
                  <a:gd name="T52" fmla="*/ 107 w 396"/>
                  <a:gd name="T53" fmla="*/ 43 h 282"/>
                  <a:gd name="T54" fmla="*/ 104 w 396"/>
                  <a:gd name="T55" fmla="*/ 47 h 282"/>
                  <a:gd name="T56" fmla="*/ 96 w 396"/>
                  <a:gd name="T57" fmla="*/ 50 h 282"/>
                  <a:gd name="T58" fmla="*/ 90 w 396"/>
                  <a:gd name="T59" fmla="*/ 52 h 282"/>
                  <a:gd name="T60" fmla="*/ 87 w 396"/>
                  <a:gd name="T61" fmla="*/ 53 h 282"/>
                  <a:gd name="T62" fmla="*/ 83 w 396"/>
                  <a:gd name="T63" fmla="*/ 57 h 282"/>
                  <a:gd name="T64" fmla="*/ 69 w 396"/>
                  <a:gd name="T65" fmla="*/ 55 h 282"/>
                  <a:gd name="T66" fmla="*/ 67 w 396"/>
                  <a:gd name="T67" fmla="*/ 55 h 282"/>
                  <a:gd name="T68" fmla="*/ 63 w 396"/>
                  <a:gd name="T69" fmla="*/ 57 h 282"/>
                  <a:gd name="T70" fmla="*/ 58 w 396"/>
                  <a:gd name="T71" fmla="*/ 57 h 282"/>
                  <a:gd name="T72" fmla="*/ 51 w 396"/>
                  <a:gd name="T73" fmla="*/ 57 h 282"/>
                  <a:gd name="T74" fmla="*/ 40 w 396"/>
                  <a:gd name="T75" fmla="*/ 57 h 282"/>
                  <a:gd name="T76" fmla="*/ 35 w 396"/>
                  <a:gd name="T77" fmla="*/ 57 h 282"/>
                  <a:gd name="T78" fmla="*/ 34 w 396"/>
                  <a:gd name="T79" fmla="*/ 62 h 282"/>
                  <a:gd name="T80" fmla="*/ 35 w 396"/>
                  <a:gd name="T81" fmla="*/ 63 h 282"/>
                  <a:gd name="T82" fmla="*/ 35 w 396"/>
                  <a:gd name="T83" fmla="*/ 69 h 282"/>
                  <a:gd name="T84" fmla="*/ 37 w 396"/>
                  <a:gd name="T85" fmla="*/ 74 h 282"/>
                  <a:gd name="T86" fmla="*/ 37 w 396"/>
                  <a:gd name="T87" fmla="*/ 78 h 282"/>
                  <a:gd name="T88" fmla="*/ 32 w 396"/>
                  <a:gd name="T89" fmla="*/ 74 h 282"/>
                  <a:gd name="T90" fmla="*/ 29 w 396"/>
                  <a:gd name="T91" fmla="*/ 73 h 282"/>
                  <a:gd name="T92" fmla="*/ 22 w 396"/>
                  <a:gd name="T93" fmla="*/ 70 h 282"/>
                  <a:gd name="T94" fmla="*/ 18 w 396"/>
                  <a:gd name="T95" fmla="*/ 74 h 282"/>
                  <a:gd name="T96" fmla="*/ 13 w 396"/>
                  <a:gd name="T97" fmla="*/ 74 h 282"/>
                  <a:gd name="T98" fmla="*/ 6 w 396"/>
                  <a:gd name="T99" fmla="*/ 73 h 282"/>
                  <a:gd name="T100" fmla="*/ 6 w 396"/>
                  <a:gd name="T101" fmla="*/ 69 h 282"/>
                  <a:gd name="T102" fmla="*/ 5 w 396"/>
                  <a:gd name="T103" fmla="*/ 65 h 28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96" h="282">
                    <a:moveTo>
                      <a:pt x="0" y="228"/>
                    </a:moveTo>
                    <a:lnTo>
                      <a:pt x="0" y="222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6" y="210"/>
                    </a:lnTo>
                    <a:lnTo>
                      <a:pt x="0" y="204"/>
                    </a:lnTo>
                    <a:lnTo>
                      <a:pt x="0" y="198"/>
                    </a:lnTo>
                    <a:lnTo>
                      <a:pt x="6" y="198"/>
                    </a:lnTo>
                    <a:lnTo>
                      <a:pt x="6" y="192"/>
                    </a:lnTo>
                    <a:lnTo>
                      <a:pt x="12" y="192"/>
                    </a:lnTo>
                    <a:lnTo>
                      <a:pt x="12" y="186"/>
                    </a:lnTo>
                    <a:lnTo>
                      <a:pt x="12" y="180"/>
                    </a:lnTo>
                    <a:lnTo>
                      <a:pt x="18" y="180"/>
                    </a:lnTo>
                    <a:lnTo>
                      <a:pt x="12" y="180"/>
                    </a:lnTo>
                    <a:lnTo>
                      <a:pt x="18" y="174"/>
                    </a:lnTo>
                    <a:lnTo>
                      <a:pt x="12" y="174"/>
                    </a:lnTo>
                    <a:lnTo>
                      <a:pt x="18" y="174"/>
                    </a:lnTo>
                    <a:lnTo>
                      <a:pt x="12" y="174"/>
                    </a:lnTo>
                    <a:lnTo>
                      <a:pt x="12" y="168"/>
                    </a:lnTo>
                    <a:lnTo>
                      <a:pt x="12" y="162"/>
                    </a:lnTo>
                    <a:lnTo>
                      <a:pt x="6" y="162"/>
                    </a:lnTo>
                    <a:lnTo>
                      <a:pt x="12" y="156"/>
                    </a:lnTo>
                    <a:lnTo>
                      <a:pt x="12" y="162"/>
                    </a:lnTo>
                    <a:lnTo>
                      <a:pt x="12" y="156"/>
                    </a:lnTo>
                    <a:lnTo>
                      <a:pt x="12" y="162"/>
                    </a:lnTo>
                    <a:lnTo>
                      <a:pt x="12" y="156"/>
                    </a:lnTo>
                    <a:lnTo>
                      <a:pt x="18" y="156"/>
                    </a:lnTo>
                    <a:lnTo>
                      <a:pt x="18" y="150"/>
                    </a:lnTo>
                    <a:lnTo>
                      <a:pt x="24" y="150"/>
                    </a:lnTo>
                    <a:lnTo>
                      <a:pt x="30" y="150"/>
                    </a:lnTo>
                    <a:lnTo>
                      <a:pt x="36" y="150"/>
                    </a:lnTo>
                    <a:lnTo>
                      <a:pt x="42" y="150"/>
                    </a:lnTo>
                    <a:lnTo>
                      <a:pt x="42" y="144"/>
                    </a:lnTo>
                    <a:lnTo>
                      <a:pt x="48" y="144"/>
                    </a:lnTo>
                    <a:lnTo>
                      <a:pt x="48" y="138"/>
                    </a:lnTo>
                    <a:lnTo>
                      <a:pt x="54" y="138"/>
                    </a:lnTo>
                    <a:lnTo>
                      <a:pt x="54" y="132"/>
                    </a:lnTo>
                    <a:lnTo>
                      <a:pt x="54" y="126"/>
                    </a:lnTo>
                    <a:lnTo>
                      <a:pt x="54" y="120"/>
                    </a:lnTo>
                    <a:lnTo>
                      <a:pt x="48" y="120"/>
                    </a:lnTo>
                    <a:lnTo>
                      <a:pt x="48" y="114"/>
                    </a:lnTo>
                    <a:lnTo>
                      <a:pt x="54" y="114"/>
                    </a:lnTo>
                    <a:lnTo>
                      <a:pt x="60" y="114"/>
                    </a:lnTo>
                    <a:lnTo>
                      <a:pt x="66" y="114"/>
                    </a:lnTo>
                    <a:lnTo>
                      <a:pt x="66" y="108"/>
                    </a:lnTo>
                    <a:lnTo>
                      <a:pt x="66" y="102"/>
                    </a:lnTo>
                    <a:lnTo>
                      <a:pt x="60" y="102"/>
                    </a:lnTo>
                    <a:lnTo>
                      <a:pt x="60" y="96"/>
                    </a:lnTo>
                    <a:lnTo>
                      <a:pt x="60" y="90"/>
                    </a:lnTo>
                    <a:lnTo>
                      <a:pt x="66" y="90"/>
                    </a:lnTo>
                    <a:lnTo>
                      <a:pt x="60" y="90"/>
                    </a:lnTo>
                    <a:lnTo>
                      <a:pt x="66" y="90"/>
                    </a:lnTo>
                    <a:lnTo>
                      <a:pt x="66" y="84"/>
                    </a:lnTo>
                    <a:lnTo>
                      <a:pt x="72" y="84"/>
                    </a:lnTo>
                    <a:lnTo>
                      <a:pt x="72" y="78"/>
                    </a:lnTo>
                    <a:lnTo>
                      <a:pt x="78" y="78"/>
                    </a:lnTo>
                    <a:lnTo>
                      <a:pt x="78" y="84"/>
                    </a:lnTo>
                    <a:lnTo>
                      <a:pt x="84" y="84"/>
                    </a:lnTo>
                    <a:lnTo>
                      <a:pt x="90" y="90"/>
                    </a:lnTo>
                    <a:lnTo>
                      <a:pt x="96" y="90"/>
                    </a:lnTo>
                    <a:lnTo>
                      <a:pt x="102" y="96"/>
                    </a:lnTo>
                    <a:lnTo>
                      <a:pt x="102" y="90"/>
                    </a:lnTo>
                    <a:lnTo>
                      <a:pt x="114" y="90"/>
                    </a:lnTo>
                    <a:lnTo>
                      <a:pt x="114" y="84"/>
                    </a:lnTo>
                    <a:lnTo>
                      <a:pt x="114" y="78"/>
                    </a:lnTo>
                    <a:lnTo>
                      <a:pt x="108" y="78"/>
                    </a:lnTo>
                    <a:lnTo>
                      <a:pt x="114" y="72"/>
                    </a:lnTo>
                    <a:lnTo>
                      <a:pt x="114" y="66"/>
                    </a:lnTo>
                    <a:lnTo>
                      <a:pt x="108" y="66"/>
                    </a:lnTo>
                    <a:lnTo>
                      <a:pt x="114" y="66"/>
                    </a:lnTo>
                    <a:lnTo>
                      <a:pt x="120" y="6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6" y="72"/>
                    </a:lnTo>
                    <a:lnTo>
                      <a:pt x="132" y="66"/>
                    </a:lnTo>
                    <a:lnTo>
                      <a:pt x="132" y="60"/>
                    </a:lnTo>
                    <a:lnTo>
                      <a:pt x="132" y="54"/>
                    </a:lnTo>
                    <a:lnTo>
                      <a:pt x="132" y="48"/>
                    </a:lnTo>
                    <a:lnTo>
                      <a:pt x="144" y="48"/>
                    </a:lnTo>
                    <a:lnTo>
                      <a:pt x="150" y="36"/>
                    </a:lnTo>
                    <a:lnTo>
                      <a:pt x="162" y="42"/>
                    </a:lnTo>
                    <a:lnTo>
                      <a:pt x="168" y="42"/>
                    </a:lnTo>
                    <a:lnTo>
                      <a:pt x="174" y="42"/>
                    </a:lnTo>
                    <a:lnTo>
                      <a:pt x="174" y="30"/>
                    </a:lnTo>
                    <a:lnTo>
                      <a:pt x="180" y="30"/>
                    </a:lnTo>
                    <a:lnTo>
                      <a:pt x="186" y="30"/>
                    </a:lnTo>
                    <a:lnTo>
                      <a:pt x="192" y="24"/>
                    </a:lnTo>
                    <a:lnTo>
                      <a:pt x="210" y="18"/>
                    </a:lnTo>
                    <a:lnTo>
                      <a:pt x="222" y="12"/>
                    </a:lnTo>
                    <a:lnTo>
                      <a:pt x="228" y="6"/>
                    </a:lnTo>
                    <a:lnTo>
                      <a:pt x="240" y="0"/>
                    </a:lnTo>
                    <a:lnTo>
                      <a:pt x="252" y="0"/>
                    </a:lnTo>
                    <a:lnTo>
                      <a:pt x="264" y="0"/>
                    </a:lnTo>
                    <a:lnTo>
                      <a:pt x="276" y="0"/>
                    </a:lnTo>
                    <a:lnTo>
                      <a:pt x="276" y="6"/>
                    </a:lnTo>
                    <a:lnTo>
                      <a:pt x="282" y="6"/>
                    </a:lnTo>
                    <a:lnTo>
                      <a:pt x="282" y="0"/>
                    </a:lnTo>
                    <a:lnTo>
                      <a:pt x="288" y="0"/>
                    </a:lnTo>
                    <a:lnTo>
                      <a:pt x="288" y="6"/>
                    </a:lnTo>
                    <a:lnTo>
                      <a:pt x="282" y="12"/>
                    </a:lnTo>
                    <a:lnTo>
                      <a:pt x="282" y="18"/>
                    </a:lnTo>
                    <a:lnTo>
                      <a:pt x="282" y="24"/>
                    </a:lnTo>
                    <a:lnTo>
                      <a:pt x="282" y="30"/>
                    </a:lnTo>
                    <a:lnTo>
                      <a:pt x="288" y="36"/>
                    </a:lnTo>
                    <a:lnTo>
                      <a:pt x="294" y="36"/>
                    </a:lnTo>
                    <a:lnTo>
                      <a:pt x="294" y="42"/>
                    </a:lnTo>
                    <a:lnTo>
                      <a:pt x="294" y="48"/>
                    </a:lnTo>
                    <a:lnTo>
                      <a:pt x="294" y="54"/>
                    </a:lnTo>
                    <a:lnTo>
                      <a:pt x="300" y="54"/>
                    </a:lnTo>
                    <a:lnTo>
                      <a:pt x="300" y="60"/>
                    </a:lnTo>
                    <a:lnTo>
                      <a:pt x="306" y="60"/>
                    </a:lnTo>
                    <a:lnTo>
                      <a:pt x="306" y="66"/>
                    </a:lnTo>
                    <a:lnTo>
                      <a:pt x="312" y="66"/>
                    </a:lnTo>
                    <a:lnTo>
                      <a:pt x="312" y="72"/>
                    </a:lnTo>
                    <a:lnTo>
                      <a:pt x="318" y="72"/>
                    </a:lnTo>
                    <a:lnTo>
                      <a:pt x="324" y="72"/>
                    </a:lnTo>
                    <a:lnTo>
                      <a:pt x="324" y="78"/>
                    </a:lnTo>
                    <a:lnTo>
                      <a:pt x="330" y="78"/>
                    </a:lnTo>
                    <a:lnTo>
                      <a:pt x="330" y="84"/>
                    </a:lnTo>
                    <a:lnTo>
                      <a:pt x="336" y="84"/>
                    </a:lnTo>
                    <a:lnTo>
                      <a:pt x="330" y="84"/>
                    </a:lnTo>
                    <a:lnTo>
                      <a:pt x="324" y="84"/>
                    </a:lnTo>
                    <a:lnTo>
                      <a:pt x="324" y="96"/>
                    </a:lnTo>
                    <a:lnTo>
                      <a:pt x="324" y="102"/>
                    </a:lnTo>
                    <a:lnTo>
                      <a:pt x="354" y="120"/>
                    </a:lnTo>
                    <a:lnTo>
                      <a:pt x="366" y="120"/>
                    </a:lnTo>
                    <a:lnTo>
                      <a:pt x="372" y="114"/>
                    </a:lnTo>
                    <a:lnTo>
                      <a:pt x="378" y="114"/>
                    </a:lnTo>
                    <a:lnTo>
                      <a:pt x="378" y="120"/>
                    </a:lnTo>
                    <a:lnTo>
                      <a:pt x="384" y="120"/>
                    </a:lnTo>
                    <a:lnTo>
                      <a:pt x="384" y="126"/>
                    </a:lnTo>
                    <a:lnTo>
                      <a:pt x="384" y="132"/>
                    </a:lnTo>
                    <a:lnTo>
                      <a:pt x="378" y="132"/>
                    </a:lnTo>
                    <a:lnTo>
                      <a:pt x="378" y="138"/>
                    </a:lnTo>
                    <a:lnTo>
                      <a:pt x="396" y="156"/>
                    </a:lnTo>
                    <a:lnTo>
                      <a:pt x="390" y="156"/>
                    </a:lnTo>
                    <a:lnTo>
                      <a:pt x="396" y="156"/>
                    </a:lnTo>
                    <a:lnTo>
                      <a:pt x="390" y="156"/>
                    </a:lnTo>
                    <a:lnTo>
                      <a:pt x="390" y="162"/>
                    </a:lnTo>
                    <a:lnTo>
                      <a:pt x="390" y="168"/>
                    </a:lnTo>
                    <a:lnTo>
                      <a:pt x="384" y="168"/>
                    </a:lnTo>
                    <a:lnTo>
                      <a:pt x="384" y="174"/>
                    </a:lnTo>
                    <a:lnTo>
                      <a:pt x="372" y="180"/>
                    </a:lnTo>
                    <a:lnTo>
                      <a:pt x="366" y="180"/>
                    </a:lnTo>
                    <a:lnTo>
                      <a:pt x="360" y="180"/>
                    </a:lnTo>
                    <a:lnTo>
                      <a:pt x="354" y="180"/>
                    </a:lnTo>
                    <a:lnTo>
                      <a:pt x="348" y="180"/>
                    </a:lnTo>
                    <a:lnTo>
                      <a:pt x="342" y="180"/>
                    </a:lnTo>
                    <a:lnTo>
                      <a:pt x="342" y="186"/>
                    </a:lnTo>
                    <a:lnTo>
                      <a:pt x="336" y="186"/>
                    </a:lnTo>
                    <a:lnTo>
                      <a:pt x="330" y="186"/>
                    </a:lnTo>
                    <a:lnTo>
                      <a:pt x="330" y="192"/>
                    </a:lnTo>
                    <a:lnTo>
                      <a:pt x="324" y="192"/>
                    </a:lnTo>
                    <a:lnTo>
                      <a:pt x="324" y="198"/>
                    </a:lnTo>
                    <a:lnTo>
                      <a:pt x="324" y="192"/>
                    </a:lnTo>
                    <a:lnTo>
                      <a:pt x="330" y="198"/>
                    </a:lnTo>
                    <a:lnTo>
                      <a:pt x="324" y="198"/>
                    </a:lnTo>
                    <a:lnTo>
                      <a:pt x="318" y="198"/>
                    </a:lnTo>
                    <a:lnTo>
                      <a:pt x="318" y="204"/>
                    </a:lnTo>
                    <a:lnTo>
                      <a:pt x="306" y="204"/>
                    </a:lnTo>
                    <a:lnTo>
                      <a:pt x="300" y="204"/>
                    </a:lnTo>
                    <a:lnTo>
                      <a:pt x="300" y="198"/>
                    </a:lnTo>
                    <a:lnTo>
                      <a:pt x="264" y="192"/>
                    </a:lnTo>
                    <a:lnTo>
                      <a:pt x="258" y="192"/>
                    </a:lnTo>
                    <a:lnTo>
                      <a:pt x="258" y="198"/>
                    </a:lnTo>
                    <a:lnTo>
                      <a:pt x="252" y="198"/>
                    </a:lnTo>
                    <a:lnTo>
                      <a:pt x="258" y="198"/>
                    </a:lnTo>
                    <a:lnTo>
                      <a:pt x="252" y="192"/>
                    </a:lnTo>
                    <a:lnTo>
                      <a:pt x="252" y="198"/>
                    </a:lnTo>
                    <a:lnTo>
                      <a:pt x="246" y="198"/>
                    </a:lnTo>
                    <a:lnTo>
                      <a:pt x="246" y="204"/>
                    </a:lnTo>
                    <a:lnTo>
                      <a:pt x="240" y="204"/>
                    </a:lnTo>
                    <a:lnTo>
                      <a:pt x="234" y="204"/>
                    </a:lnTo>
                    <a:lnTo>
                      <a:pt x="234" y="198"/>
                    </a:lnTo>
                    <a:lnTo>
                      <a:pt x="234" y="204"/>
                    </a:lnTo>
                    <a:lnTo>
                      <a:pt x="228" y="204"/>
                    </a:lnTo>
                    <a:lnTo>
                      <a:pt x="222" y="204"/>
                    </a:lnTo>
                    <a:lnTo>
                      <a:pt x="222" y="198"/>
                    </a:lnTo>
                    <a:lnTo>
                      <a:pt x="216" y="198"/>
                    </a:lnTo>
                    <a:lnTo>
                      <a:pt x="216" y="204"/>
                    </a:lnTo>
                    <a:lnTo>
                      <a:pt x="210" y="204"/>
                    </a:lnTo>
                    <a:lnTo>
                      <a:pt x="204" y="204"/>
                    </a:lnTo>
                    <a:lnTo>
                      <a:pt x="204" y="198"/>
                    </a:lnTo>
                    <a:lnTo>
                      <a:pt x="192" y="198"/>
                    </a:lnTo>
                    <a:lnTo>
                      <a:pt x="192" y="204"/>
                    </a:lnTo>
                    <a:lnTo>
                      <a:pt x="186" y="204"/>
                    </a:lnTo>
                    <a:lnTo>
                      <a:pt x="168" y="204"/>
                    </a:lnTo>
                    <a:lnTo>
                      <a:pt x="162" y="204"/>
                    </a:lnTo>
                    <a:lnTo>
                      <a:pt x="156" y="204"/>
                    </a:lnTo>
                    <a:lnTo>
                      <a:pt x="150" y="204"/>
                    </a:lnTo>
                    <a:lnTo>
                      <a:pt x="144" y="204"/>
                    </a:lnTo>
                    <a:lnTo>
                      <a:pt x="138" y="204"/>
                    </a:lnTo>
                    <a:lnTo>
                      <a:pt x="138" y="198"/>
                    </a:lnTo>
                    <a:lnTo>
                      <a:pt x="132" y="198"/>
                    </a:lnTo>
                    <a:lnTo>
                      <a:pt x="132" y="204"/>
                    </a:lnTo>
                    <a:lnTo>
                      <a:pt x="132" y="210"/>
                    </a:lnTo>
                    <a:lnTo>
                      <a:pt x="126" y="216"/>
                    </a:lnTo>
                    <a:lnTo>
                      <a:pt x="132" y="216"/>
                    </a:lnTo>
                    <a:lnTo>
                      <a:pt x="126" y="216"/>
                    </a:lnTo>
                    <a:lnTo>
                      <a:pt x="126" y="222"/>
                    </a:lnTo>
                    <a:lnTo>
                      <a:pt x="132" y="222"/>
                    </a:lnTo>
                    <a:lnTo>
                      <a:pt x="132" y="228"/>
                    </a:lnTo>
                    <a:lnTo>
                      <a:pt x="138" y="228"/>
                    </a:lnTo>
                    <a:lnTo>
                      <a:pt x="132" y="234"/>
                    </a:lnTo>
                    <a:lnTo>
                      <a:pt x="132" y="228"/>
                    </a:lnTo>
                    <a:lnTo>
                      <a:pt x="132" y="234"/>
                    </a:lnTo>
                    <a:lnTo>
                      <a:pt x="138" y="240"/>
                    </a:lnTo>
                    <a:lnTo>
                      <a:pt x="132" y="240"/>
                    </a:lnTo>
                    <a:lnTo>
                      <a:pt x="138" y="246"/>
                    </a:lnTo>
                    <a:lnTo>
                      <a:pt x="132" y="246"/>
                    </a:lnTo>
                    <a:lnTo>
                      <a:pt x="138" y="246"/>
                    </a:lnTo>
                    <a:lnTo>
                      <a:pt x="138" y="252"/>
                    </a:lnTo>
                    <a:lnTo>
                      <a:pt x="138" y="258"/>
                    </a:lnTo>
                    <a:lnTo>
                      <a:pt x="132" y="264"/>
                    </a:lnTo>
                    <a:lnTo>
                      <a:pt x="138" y="264"/>
                    </a:lnTo>
                    <a:lnTo>
                      <a:pt x="132" y="264"/>
                    </a:lnTo>
                    <a:lnTo>
                      <a:pt x="138" y="264"/>
                    </a:lnTo>
                    <a:lnTo>
                      <a:pt x="138" y="270"/>
                    </a:lnTo>
                    <a:lnTo>
                      <a:pt x="138" y="276"/>
                    </a:lnTo>
                    <a:lnTo>
                      <a:pt x="138" y="282"/>
                    </a:lnTo>
                    <a:lnTo>
                      <a:pt x="132" y="282"/>
                    </a:lnTo>
                    <a:lnTo>
                      <a:pt x="132" y="276"/>
                    </a:lnTo>
                    <a:lnTo>
                      <a:pt x="126" y="270"/>
                    </a:lnTo>
                    <a:lnTo>
                      <a:pt x="126" y="264"/>
                    </a:lnTo>
                    <a:lnTo>
                      <a:pt x="120" y="264"/>
                    </a:lnTo>
                    <a:lnTo>
                      <a:pt x="120" y="258"/>
                    </a:lnTo>
                    <a:lnTo>
                      <a:pt x="114" y="258"/>
                    </a:lnTo>
                    <a:lnTo>
                      <a:pt x="114" y="252"/>
                    </a:lnTo>
                    <a:lnTo>
                      <a:pt x="114" y="258"/>
                    </a:lnTo>
                    <a:lnTo>
                      <a:pt x="108" y="258"/>
                    </a:lnTo>
                    <a:lnTo>
                      <a:pt x="108" y="252"/>
                    </a:lnTo>
                    <a:lnTo>
                      <a:pt x="102" y="252"/>
                    </a:lnTo>
                    <a:lnTo>
                      <a:pt x="96" y="252"/>
                    </a:lnTo>
                    <a:lnTo>
                      <a:pt x="90" y="252"/>
                    </a:lnTo>
                    <a:lnTo>
                      <a:pt x="84" y="252"/>
                    </a:lnTo>
                    <a:lnTo>
                      <a:pt x="84" y="258"/>
                    </a:lnTo>
                    <a:lnTo>
                      <a:pt x="78" y="258"/>
                    </a:lnTo>
                    <a:lnTo>
                      <a:pt x="72" y="258"/>
                    </a:lnTo>
                    <a:lnTo>
                      <a:pt x="66" y="258"/>
                    </a:lnTo>
                    <a:lnTo>
                      <a:pt x="66" y="264"/>
                    </a:lnTo>
                    <a:lnTo>
                      <a:pt x="60" y="264"/>
                    </a:lnTo>
                    <a:lnTo>
                      <a:pt x="60" y="270"/>
                    </a:lnTo>
                    <a:lnTo>
                      <a:pt x="54" y="270"/>
                    </a:lnTo>
                    <a:lnTo>
                      <a:pt x="48" y="270"/>
                    </a:lnTo>
                    <a:lnTo>
                      <a:pt x="48" y="264"/>
                    </a:lnTo>
                    <a:lnTo>
                      <a:pt x="42" y="264"/>
                    </a:lnTo>
                    <a:lnTo>
                      <a:pt x="36" y="264"/>
                    </a:lnTo>
                    <a:lnTo>
                      <a:pt x="36" y="258"/>
                    </a:lnTo>
                    <a:lnTo>
                      <a:pt x="30" y="258"/>
                    </a:lnTo>
                    <a:lnTo>
                      <a:pt x="24" y="258"/>
                    </a:lnTo>
                    <a:lnTo>
                      <a:pt x="30" y="252"/>
                    </a:lnTo>
                    <a:lnTo>
                      <a:pt x="24" y="252"/>
                    </a:lnTo>
                    <a:lnTo>
                      <a:pt x="30" y="252"/>
                    </a:lnTo>
                    <a:lnTo>
                      <a:pt x="24" y="252"/>
                    </a:lnTo>
                    <a:lnTo>
                      <a:pt x="24" y="246"/>
                    </a:lnTo>
                    <a:lnTo>
                      <a:pt x="24" y="240"/>
                    </a:lnTo>
                    <a:lnTo>
                      <a:pt x="18" y="240"/>
                    </a:lnTo>
                    <a:lnTo>
                      <a:pt x="24" y="240"/>
                    </a:lnTo>
                    <a:lnTo>
                      <a:pt x="18" y="240"/>
                    </a:lnTo>
                    <a:lnTo>
                      <a:pt x="18" y="234"/>
                    </a:lnTo>
                    <a:lnTo>
                      <a:pt x="12" y="234"/>
                    </a:lnTo>
                    <a:lnTo>
                      <a:pt x="6" y="234"/>
                    </a:lnTo>
                    <a:lnTo>
                      <a:pt x="0" y="234"/>
                    </a:lnTo>
                    <a:lnTo>
                      <a:pt x="0" y="22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4" name="Freeform 110"/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080" y="1998"/>
                <a:ext cx="174" cy="256"/>
              </a:xfrm>
              <a:custGeom>
                <a:avLst/>
                <a:gdLst>
                  <a:gd name="T0" fmla="*/ 5 w 216"/>
                  <a:gd name="T1" fmla="*/ 20 h 318"/>
                  <a:gd name="T2" fmla="*/ 6 w 216"/>
                  <a:gd name="T3" fmla="*/ 16 h 318"/>
                  <a:gd name="T4" fmla="*/ 5 w 216"/>
                  <a:gd name="T5" fmla="*/ 13 h 318"/>
                  <a:gd name="T6" fmla="*/ 5 w 216"/>
                  <a:gd name="T7" fmla="*/ 11 h 318"/>
                  <a:gd name="T8" fmla="*/ 3 w 216"/>
                  <a:gd name="T9" fmla="*/ 8 h 318"/>
                  <a:gd name="T10" fmla="*/ 5 w 216"/>
                  <a:gd name="T11" fmla="*/ 5 h 318"/>
                  <a:gd name="T12" fmla="*/ 6 w 216"/>
                  <a:gd name="T13" fmla="*/ 3 h 318"/>
                  <a:gd name="T14" fmla="*/ 13 w 216"/>
                  <a:gd name="T15" fmla="*/ 3 h 318"/>
                  <a:gd name="T16" fmla="*/ 22 w 216"/>
                  <a:gd name="T17" fmla="*/ 2 h 318"/>
                  <a:gd name="T18" fmla="*/ 28 w 216"/>
                  <a:gd name="T19" fmla="*/ 3 h 318"/>
                  <a:gd name="T20" fmla="*/ 31 w 216"/>
                  <a:gd name="T21" fmla="*/ 3 h 318"/>
                  <a:gd name="T22" fmla="*/ 35 w 216"/>
                  <a:gd name="T23" fmla="*/ 3 h 318"/>
                  <a:gd name="T24" fmla="*/ 38 w 216"/>
                  <a:gd name="T25" fmla="*/ 0 h 318"/>
                  <a:gd name="T26" fmla="*/ 39 w 216"/>
                  <a:gd name="T27" fmla="*/ 0 h 318"/>
                  <a:gd name="T28" fmla="*/ 44 w 216"/>
                  <a:gd name="T29" fmla="*/ 2 h 318"/>
                  <a:gd name="T30" fmla="*/ 43 w 216"/>
                  <a:gd name="T31" fmla="*/ 8 h 318"/>
                  <a:gd name="T32" fmla="*/ 48 w 216"/>
                  <a:gd name="T33" fmla="*/ 10 h 318"/>
                  <a:gd name="T34" fmla="*/ 49 w 216"/>
                  <a:gd name="T35" fmla="*/ 15 h 318"/>
                  <a:gd name="T36" fmla="*/ 49 w 216"/>
                  <a:gd name="T37" fmla="*/ 19 h 318"/>
                  <a:gd name="T38" fmla="*/ 48 w 216"/>
                  <a:gd name="T39" fmla="*/ 22 h 318"/>
                  <a:gd name="T40" fmla="*/ 48 w 216"/>
                  <a:gd name="T41" fmla="*/ 25 h 318"/>
                  <a:gd name="T42" fmla="*/ 51 w 216"/>
                  <a:gd name="T43" fmla="*/ 25 h 318"/>
                  <a:gd name="T44" fmla="*/ 49 w 216"/>
                  <a:gd name="T45" fmla="*/ 29 h 318"/>
                  <a:gd name="T46" fmla="*/ 49 w 216"/>
                  <a:gd name="T47" fmla="*/ 34 h 318"/>
                  <a:gd name="T48" fmla="*/ 52 w 216"/>
                  <a:gd name="T49" fmla="*/ 38 h 318"/>
                  <a:gd name="T50" fmla="*/ 52 w 216"/>
                  <a:gd name="T51" fmla="*/ 41 h 318"/>
                  <a:gd name="T52" fmla="*/ 52 w 216"/>
                  <a:gd name="T53" fmla="*/ 47 h 318"/>
                  <a:gd name="T54" fmla="*/ 52 w 216"/>
                  <a:gd name="T55" fmla="*/ 51 h 318"/>
                  <a:gd name="T56" fmla="*/ 51 w 216"/>
                  <a:gd name="T57" fmla="*/ 57 h 318"/>
                  <a:gd name="T58" fmla="*/ 52 w 216"/>
                  <a:gd name="T59" fmla="*/ 62 h 318"/>
                  <a:gd name="T60" fmla="*/ 55 w 216"/>
                  <a:gd name="T61" fmla="*/ 65 h 318"/>
                  <a:gd name="T62" fmla="*/ 59 w 216"/>
                  <a:gd name="T63" fmla="*/ 68 h 318"/>
                  <a:gd name="T64" fmla="*/ 55 w 216"/>
                  <a:gd name="T65" fmla="*/ 74 h 318"/>
                  <a:gd name="T66" fmla="*/ 46 w 216"/>
                  <a:gd name="T67" fmla="*/ 74 h 318"/>
                  <a:gd name="T68" fmla="*/ 43 w 216"/>
                  <a:gd name="T69" fmla="*/ 76 h 318"/>
                  <a:gd name="T70" fmla="*/ 38 w 216"/>
                  <a:gd name="T71" fmla="*/ 79 h 318"/>
                  <a:gd name="T72" fmla="*/ 33 w 216"/>
                  <a:gd name="T73" fmla="*/ 81 h 318"/>
                  <a:gd name="T74" fmla="*/ 29 w 216"/>
                  <a:gd name="T75" fmla="*/ 81 h 318"/>
                  <a:gd name="T76" fmla="*/ 25 w 216"/>
                  <a:gd name="T77" fmla="*/ 83 h 318"/>
                  <a:gd name="T78" fmla="*/ 20 w 216"/>
                  <a:gd name="T79" fmla="*/ 85 h 318"/>
                  <a:gd name="T80" fmla="*/ 15 w 216"/>
                  <a:gd name="T81" fmla="*/ 87 h 318"/>
                  <a:gd name="T82" fmla="*/ 10 w 216"/>
                  <a:gd name="T83" fmla="*/ 83 h 318"/>
                  <a:gd name="T84" fmla="*/ 2 w 216"/>
                  <a:gd name="T85" fmla="*/ 81 h 318"/>
                  <a:gd name="T86" fmla="*/ 5 w 216"/>
                  <a:gd name="T87" fmla="*/ 81 h 318"/>
                  <a:gd name="T88" fmla="*/ 6 w 216"/>
                  <a:gd name="T89" fmla="*/ 76 h 318"/>
                  <a:gd name="T90" fmla="*/ 3 w 216"/>
                  <a:gd name="T91" fmla="*/ 74 h 318"/>
                  <a:gd name="T92" fmla="*/ 2 w 216"/>
                  <a:gd name="T93" fmla="*/ 67 h 318"/>
                  <a:gd name="T94" fmla="*/ 0 w 216"/>
                  <a:gd name="T95" fmla="*/ 60 h 318"/>
                  <a:gd name="T96" fmla="*/ 3 w 216"/>
                  <a:gd name="T97" fmla="*/ 55 h 318"/>
                  <a:gd name="T98" fmla="*/ 3 w 216"/>
                  <a:gd name="T99" fmla="*/ 49 h 318"/>
                  <a:gd name="T100" fmla="*/ 6 w 216"/>
                  <a:gd name="T101" fmla="*/ 42 h 318"/>
                  <a:gd name="T102" fmla="*/ 10 w 216"/>
                  <a:gd name="T103" fmla="*/ 39 h 318"/>
                  <a:gd name="T104" fmla="*/ 8 w 216"/>
                  <a:gd name="T105" fmla="*/ 31 h 318"/>
                  <a:gd name="T106" fmla="*/ 6 w 216"/>
                  <a:gd name="T107" fmla="*/ 26 h 318"/>
                  <a:gd name="T108" fmla="*/ 6 w 216"/>
                  <a:gd name="T109" fmla="*/ 23 h 31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216" h="318">
                    <a:moveTo>
                      <a:pt x="24" y="84"/>
                    </a:moveTo>
                    <a:lnTo>
                      <a:pt x="24" y="78"/>
                    </a:lnTo>
                    <a:lnTo>
                      <a:pt x="24" y="72"/>
                    </a:lnTo>
                    <a:lnTo>
                      <a:pt x="18" y="72"/>
                    </a:lnTo>
                    <a:lnTo>
                      <a:pt x="24" y="72"/>
                    </a:lnTo>
                    <a:lnTo>
                      <a:pt x="18" y="72"/>
                    </a:lnTo>
                    <a:lnTo>
                      <a:pt x="24" y="66"/>
                    </a:lnTo>
                    <a:lnTo>
                      <a:pt x="24" y="60"/>
                    </a:lnTo>
                    <a:lnTo>
                      <a:pt x="24" y="54"/>
                    </a:lnTo>
                    <a:lnTo>
                      <a:pt x="18" y="54"/>
                    </a:lnTo>
                    <a:lnTo>
                      <a:pt x="24" y="54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18" y="42"/>
                    </a:lnTo>
                    <a:lnTo>
                      <a:pt x="24" y="36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72" y="12"/>
                    </a:lnTo>
                    <a:lnTo>
                      <a:pt x="78" y="12"/>
                    </a:lnTo>
                    <a:lnTo>
                      <a:pt x="78" y="6"/>
                    </a:lnTo>
                    <a:lnTo>
                      <a:pt x="90" y="6"/>
                    </a:lnTo>
                    <a:lnTo>
                      <a:pt x="90" y="12"/>
                    </a:lnTo>
                    <a:lnTo>
                      <a:pt x="96" y="12"/>
                    </a:lnTo>
                    <a:lnTo>
                      <a:pt x="102" y="12"/>
                    </a:lnTo>
                    <a:lnTo>
                      <a:pt x="102" y="6"/>
                    </a:lnTo>
                    <a:lnTo>
                      <a:pt x="108" y="6"/>
                    </a:lnTo>
                    <a:lnTo>
                      <a:pt x="108" y="12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0" y="6"/>
                    </a:lnTo>
                    <a:lnTo>
                      <a:pt x="120" y="12"/>
                    </a:lnTo>
                    <a:lnTo>
                      <a:pt x="126" y="12"/>
                    </a:lnTo>
                    <a:lnTo>
                      <a:pt x="132" y="12"/>
                    </a:lnTo>
                    <a:lnTo>
                      <a:pt x="132" y="6"/>
                    </a:lnTo>
                    <a:lnTo>
                      <a:pt x="138" y="6"/>
                    </a:lnTo>
                    <a:lnTo>
                      <a:pt x="138" y="0"/>
                    </a:lnTo>
                    <a:lnTo>
                      <a:pt x="144" y="6"/>
                    </a:lnTo>
                    <a:lnTo>
                      <a:pt x="138" y="6"/>
                    </a:lnTo>
                    <a:lnTo>
                      <a:pt x="144" y="6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0" y="6"/>
                    </a:lnTo>
                    <a:lnTo>
                      <a:pt x="156" y="6"/>
                    </a:lnTo>
                    <a:lnTo>
                      <a:pt x="162" y="6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56" y="24"/>
                    </a:lnTo>
                    <a:lnTo>
                      <a:pt x="156" y="30"/>
                    </a:lnTo>
                    <a:lnTo>
                      <a:pt x="162" y="30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74" y="36"/>
                    </a:lnTo>
                    <a:lnTo>
                      <a:pt x="174" y="42"/>
                    </a:lnTo>
                    <a:lnTo>
                      <a:pt x="180" y="42"/>
                    </a:lnTo>
                    <a:lnTo>
                      <a:pt x="180" y="48"/>
                    </a:lnTo>
                    <a:lnTo>
                      <a:pt x="180" y="54"/>
                    </a:lnTo>
                    <a:lnTo>
                      <a:pt x="180" y="60"/>
                    </a:lnTo>
                    <a:lnTo>
                      <a:pt x="180" y="66"/>
                    </a:lnTo>
                    <a:lnTo>
                      <a:pt x="174" y="66"/>
                    </a:lnTo>
                    <a:lnTo>
                      <a:pt x="180" y="66"/>
                    </a:lnTo>
                    <a:lnTo>
                      <a:pt x="174" y="72"/>
                    </a:lnTo>
                    <a:lnTo>
                      <a:pt x="180" y="72"/>
                    </a:lnTo>
                    <a:lnTo>
                      <a:pt x="180" y="78"/>
                    </a:lnTo>
                    <a:lnTo>
                      <a:pt x="174" y="78"/>
                    </a:lnTo>
                    <a:lnTo>
                      <a:pt x="174" y="84"/>
                    </a:lnTo>
                    <a:lnTo>
                      <a:pt x="168" y="84"/>
                    </a:lnTo>
                    <a:lnTo>
                      <a:pt x="174" y="84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80" y="84"/>
                    </a:lnTo>
                    <a:lnTo>
                      <a:pt x="186" y="84"/>
                    </a:lnTo>
                    <a:lnTo>
                      <a:pt x="186" y="90"/>
                    </a:lnTo>
                    <a:lnTo>
                      <a:pt x="186" y="96"/>
                    </a:lnTo>
                    <a:lnTo>
                      <a:pt x="186" y="102"/>
                    </a:lnTo>
                    <a:lnTo>
                      <a:pt x="180" y="102"/>
                    </a:lnTo>
                    <a:lnTo>
                      <a:pt x="180" y="108"/>
                    </a:lnTo>
                    <a:lnTo>
                      <a:pt x="186" y="114"/>
                    </a:lnTo>
                    <a:lnTo>
                      <a:pt x="186" y="120"/>
                    </a:lnTo>
                    <a:lnTo>
                      <a:pt x="180" y="120"/>
                    </a:lnTo>
                    <a:lnTo>
                      <a:pt x="180" y="126"/>
                    </a:lnTo>
                    <a:lnTo>
                      <a:pt x="186" y="126"/>
                    </a:lnTo>
                    <a:lnTo>
                      <a:pt x="186" y="132"/>
                    </a:lnTo>
                    <a:lnTo>
                      <a:pt x="192" y="132"/>
                    </a:lnTo>
                    <a:lnTo>
                      <a:pt x="192" y="138"/>
                    </a:lnTo>
                    <a:lnTo>
                      <a:pt x="198" y="138"/>
                    </a:lnTo>
                    <a:lnTo>
                      <a:pt x="198" y="144"/>
                    </a:lnTo>
                    <a:lnTo>
                      <a:pt x="192" y="144"/>
                    </a:lnTo>
                    <a:lnTo>
                      <a:pt x="192" y="150"/>
                    </a:lnTo>
                    <a:lnTo>
                      <a:pt x="192" y="156"/>
                    </a:lnTo>
                    <a:lnTo>
                      <a:pt x="192" y="162"/>
                    </a:lnTo>
                    <a:lnTo>
                      <a:pt x="192" y="168"/>
                    </a:lnTo>
                    <a:lnTo>
                      <a:pt x="192" y="174"/>
                    </a:lnTo>
                    <a:lnTo>
                      <a:pt x="186" y="174"/>
                    </a:lnTo>
                    <a:lnTo>
                      <a:pt x="186" y="180"/>
                    </a:lnTo>
                    <a:lnTo>
                      <a:pt x="186" y="186"/>
                    </a:lnTo>
                    <a:lnTo>
                      <a:pt x="192" y="186"/>
                    </a:lnTo>
                    <a:lnTo>
                      <a:pt x="192" y="192"/>
                    </a:lnTo>
                    <a:lnTo>
                      <a:pt x="192" y="198"/>
                    </a:lnTo>
                    <a:lnTo>
                      <a:pt x="192" y="204"/>
                    </a:lnTo>
                    <a:lnTo>
                      <a:pt x="186" y="210"/>
                    </a:lnTo>
                    <a:lnTo>
                      <a:pt x="186" y="216"/>
                    </a:lnTo>
                    <a:lnTo>
                      <a:pt x="186" y="222"/>
                    </a:lnTo>
                    <a:lnTo>
                      <a:pt x="192" y="222"/>
                    </a:lnTo>
                    <a:lnTo>
                      <a:pt x="192" y="228"/>
                    </a:lnTo>
                    <a:lnTo>
                      <a:pt x="198" y="228"/>
                    </a:lnTo>
                    <a:lnTo>
                      <a:pt x="198" y="234"/>
                    </a:lnTo>
                    <a:lnTo>
                      <a:pt x="198" y="240"/>
                    </a:lnTo>
                    <a:lnTo>
                      <a:pt x="204" y="240"/>
                    </a:lnTo>
                    <a:lnTo>
                      <a:pt x="210" y="240"/>
                    </a:lnTo>
                    <a:lnTo>
                      <a:pt x="210" y="246"/>
                    </a:lnTo>
                    <a:lnTo>
                      <a:pt x="216" y="246"/>
                    </a:lnTo>
                    <a:lnTo>
                      <a:pt x="216" y="252"/>
                    </a:lnTo>
                    <a:lnTo>
                      <a:pt x="216" y="258"/>
                    </a:lnTo>
                    <a:lnTo>
                      <a:pt x="210" y="264"/>
                    </a:lnTo>
                    <a:lnTo>
                      <a:pt x="210" y="270"/>
                    </a:lnTo>
                    <a:lnTo>
                      <a:pt x="204" y="270"/>
                    </a:lnTo>
                    <a:lnTo>
                      <a:pt x="198" y="270"/>
                    </a:lnTo>
                    <a:lnTo>
                      <a:pt x="180" y="270"/>
                    </a:lnTo>
                    <a:lnTo>
                      <a:pt x="174" y="270"/>
                    </a:lnTo>
                    <a:lnTo>
                      <a:pt x="168" y="270"/>
                    </a:lnTo>
                    <a:lnTo>
                      <a:pt x="162" y="270"/>
                    </a:lnTo>
                    <a:lnTo>
                      <a:pt x="162" y="276"/>
                    </a:lnTo>
                    <a:lnTo>
                      <a:pt x="156" y="276"/>
                    </a:lnTo>
                    <a:lnTo>
                      <a:pt x="156" y="282"/>
                    </a:lnTo>
                    <a:lnTo>
                      <a:pt x="150" y="282"/>
                    </a:lnTo>
                    <a:lnTo>
                      <a:pt x="144" y="282"/>
                    </a:lnTo>
                    <a:lnTo>
                      <a:pt x="138" y="282"/>
                    </a:lnTo>
                    <a:lnTo>
                      <a:pt x="138" y="288"/>
                    </a:lnTo>
                    <a:lnTo>
                      <a:pt x="132" y="288"/>
                    </a:lnTo>
                    <a:lnTo>
                      <a:pt x="126" y="288"/>
                    </a:lnTo>
                    <a:lnTo>
                      <a:pt x="126" y="294"/>
                    </a:lnTo>
                    <a:lnTo>
                      <a:pt x="120" y="294"/>
                    </a:lnTo>
                    <a:lnTo>
                      <a:pt x="114" y="294"/>
                    </a:lnTo>
                    <a:lnTo>
                      <a:pt x="114" y="300"/>
                    </a:lnTo>
                    <a:lnTo>
                      <a:pt x="114" y="294"/>
                    </a:lnTo>
                    <a:lnTo>
                      <a:pt x="108" y="294"/>
                    </a:lnTo>
                    <a:lnTo>
                      <a:pt x="108" y="300"/>
                    </a:lnTo>
                    <a:lnTo>
                      <a:pt x="102" y="300"/>
                    </a:lnTo>
                    <a:lnTo>
                      <a:pt x="96" y="300"/>
                    </a:lnTo>
                    <a:lnTo>
                      <a:pt x="90" y="306"/>
                    </a:lnTo>
                    <a:lnTo>
                      <a:pt x="84" y="306"/>
                    </a:lnTo>
                    <a:lnTo>
                      <a:pt x="78" y="306"/>
                    </a:lnTo>
                    <a:lnTo>
                      <a:pt x="78" y="312"/>
                    </a:lnTo>
                    <a:lnTo>
                      <a:pt x="72" y="312"/>
                    </a:lnTo>
                    <a:lnTo>
                      <a:pt x="66" y="312"/>
                    </a:lnTo>
                    <a:lnTo>
                      <a:pt x="66" y="318"/>
                    </a:lnTo>
                    <a:lnTo>
                      <a:pt x="60" y="318"/>
                    </a:lnTo>
                    <a:lnTo>
                      <a:pt x="54" y="318"/>
                    </a:lnTo>
                    <a:lnTo>
                      <a:pt x="48" y="318"/>
                    </a:lnTo>
                    <a:lnTo>
                      <a:pt x="48" y="312"/>
                    </a:lnTo>
                    <a:lnTo>
                      <a:pt x="42" y="312"/>
                    </a:lnTo>
                    <a:lnTo>
                      <a:pt x="36" y="306"/>
                    </a:lnTo>
                    <a:lnTo>
                      <a:pt x="30" y="306"/>
                    </a:lnTo>
                    <a:lnTo>
                      <a:pt x="24" y="306"/>
                    </a:lnTo>
                    <a:lnTo>
                      <a:pt x="12" y="306"/>
                    </a:lnTo>
                    <a:lnTo>
                      <a:pt x="6" y="300"/>
                    </a:lnTo>
                    <a:lnTo>
                      <a:pt x="12" y="300"/>
                    </a:lnTo>
                    <a:lnTo>
                      <a:pt x="12" y="306"/>
                    </a:lnTo>
                    <a:lnTo>
                      <a:pt x="12" y="300"/>
                    </a:lnTo>
                    <a:lnTo>
                      <a:pt x="18" y="300"/>
                    </a:lnTo>
                    <a:lnTo>
                      <a:pt x="24" y="300"/>
                    </a:lnTo>
                    <a:lnTo>
                      <a:pt x="24" y="294"/>
                    </a:lnTo>
                    <a:lnTo>
                      <a:pt x="24" y="288"/>
                    </a:lnTo>
                    <a:lnTo>
                      <a:pt x="24" y="282"/>
                    </a:lnTo>
                    <a:lnTo>
                      <a:pt x="24" y="276"/>
                    </a:lnTo>
                    <a:lnTo>
                      <a:pt x="18" y="276"/>
                    </a:lnTo>
                    <a:lnTo>
                      <a:pt x="12" y="276"/>
                    </a:lnTo>
                    <a:lnTo>
                      <a:pt x="12" y="270"/>
                    </a:lnTo>
                    <a:lnTo>
                      <a:pt x="12" y="264"/>
                    </a:lnTo>
                    <a:lnTo>
                      <a:pt x="6" y="258"/>
                    </a:lnTo>
                    <a:lnTo>
                      <a:pt x="6" y="252"/>
                    </a:lnTo>
                    <a:lnTo>
                      <a:pt x="6" y="246"/>
                    </a:lnTo>
                    <a:lnTo>
                      <a:pt x="0" y="246"/>
                    </a:lnTo>
                    <a:lnTo>
                      <a:pt x="0" y="240"/>
                    </a:lnTo>
                    <a:lnTo>
                      <a:pt x="0" y="228"/>
                    </a:lnTo>
                    <a:lnTo>
                      <a:pt x="0" y="222"/>
                    </a:lnTo>
                    <a:lnTo>
                      <a:pt x="0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12" y="204"/>
                    </a:lnTo>
                    <a:lnTo>
                      <a:pt x="12" y="198"/>
                    </a:lnTo>
                    <a:lnTo>
                      <a:pt x="12" y="192"/>
                    </a:lnTo>
                    <a:lnTo>
                      <a:pt x="12" y="186"/>
                    </a:lnTo>
                    <a:lnTo>
                      <a:pt x="12" y="180"/>
                    </a:lnTo>
                    <a:lnTo>
                      <a:pt x="18" y="174"/>
                    </a:lnTo>
                    <a:lnTo>
                      <a:pt x="18" y="168"/>
                    </a:lnTo>
                    <a:lnTo>
                      <a:pt x="24" y="162"/>
                    </a:lnTo>
                    <a:lnTo>
                      <a:pt x="24" y="156"/>
                    </a:lnTo>
                    <a:lnTo>
                      <a:pt x="30" y="156"/>
                    </a:lnTo>
                    <a:lnTo>
                      <a:pt x="30" y="150"/>
                    </a:lnTo>
                    <a:lnTo>
                      <a:pt x="36" y="150"/>
                    </a:lnTo>
                    <a:lnTo>
                      <a:pt x="36" y="144"/>
                    </a:lnTo>
                    <a:lnTo>
                      <a:pt x="36" y="138"/>
                    </a:lnTo>
                    <a:lnTo>
                      <a:pt x="36" y="132"/>
                    </a:lnTo>
                    <a:lnTo>
                      <a:pt x="30" y="120"/>
                    </a:lnTo>
                    <a:lnTo>
                      <a:pt x="30" y="114"/>
                    </a:lnTo>
                    <a:lnTo>
                      <a:pt x="30" y="108"/>
                    </a:lnTo>
                    <a:lnTo>
                      <a:pt x="24" y="108"/>
                    </a:lnTo>
                    <a:lnTo>
                      <a:pt x="24" y="102"/>
                    </a:lnTo>
                    <a:lnTo>
                      <a:pt x="24" y="96"/>
                    </a:lnTo>
                    <a:lnTo>
                      <a:pt x="30" y="96"/>
                    </a:lnTo>
                    <a:lnTo>
                      <a:pt x="24" y="96"/>
                    </a:lnTo>
                    <a:lnTo>
                      <a:pt x="24" y="90"/>
                    </a:lnTo>
                    <a:lnTo>
                      <a:pt x="24" y="84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5" name="Freeform 111"/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863" y="2017"/>
                <a:ext cx="246" cy="251"/>
              </a:xfrm>
              <a:custGeom>
                <a:avLst/>
                <a:gdLst>
                  <a:gd name="T0" fmla="*/ 8 w 306"/>
                  <a:gd name="T1" fmla="*/ 41 h 312"/>
                  <a:gd name="T2" fmla="*/ 8 w 306"/>
                  <a:gd name="T3" fmla="*/ 35 h 312"/>
                  <a:gd name="T4" fmla="*/ 6 w 306"/>
                  <a:gd name="T5" fmla="*/ 33 h 312"/>
                  <a:gd name="T6" fmla="*/ 5 w 306"/>
                  <a:gd name="T7" fmla="*/ 31 h 312"/>
                  <a:gd name="T8" fmla="*/ 9 w 306"/>
                  <a:gd name="T9" fmla="*/ 29 h 312"/>
                  <a:gd name="T10" fmla="*/ 11 w 306"/>
                  <a:gd name="T11" fmla="*/ 29 h 312"/>
                  <a:gd name="T12" fmla="*/ 11 w 306"/>
                  <a:gd name="T13" fmla="*/ 26 h 312"/>
                  <a:gd name="T14" fmla="*/ 11 w 306"/>
                  <a:gd name="T15" fmla="*/ 22 h 312"/>
                  <a:gd name="T16" fmla="*/ 9 w 306"/>
                  <a:gd name="T17" fmla="*/ 19 h 312"/>
                  <a:gd name="T18" fmla="*/ 8 w 306"/>
                  <a:gd name="T19" fmla="*/ 19 h 312"/>
                  <a:gd name="T20" fmla="*/ 6 w 306"/>
                  <a:gd name="T21" fmla="*/ 11 h 312"/>
                  <a:gd name="T22" fmla="*/ 8 w 306"/>
                  <a:gd name="T23" fmla="*/ 11 h 312"/>
                  <a:gd name="T24" fmla="*/ 8 w 306"/>
                  <a:gd name="T25" fmla="*/ 8 h 312"/>
                  <a:gd name="T26" fmla="*/ 13 w 306"/>
                  <a:gd name="T27" fmla="*/ 3 h 312"/>
                  <a:gd name="T28" fmla="*/ 18 w 306"/>
                  <a:gd name="T29" fmla="*/ 6 h 312"/>
                  <a:gd name="T30" fmla="*/ 23 w 306"/>
                  <a:gd name="T31" fmla="*/ 6 h 312"/>
                  <a:gd name="T32" fmla="*/ 26 w 306"/>
                  <a:gd name="T33" fmla="*/ 3 h 312"/>
                  <a:gd name="T34" fmla="*/ 29 w 306"/>
                  <a:gd name="T35" fmla="*/ 2 h 312"/>
                  <a:gd name="T36" fmla="*/ 32 w 306"/>
                  <a:gd name="T37" fmla="*/ 0 h 312"/>
                  <a:gd name="T38" fmla="*/ 34 w 306"/>
                  <a:gd name="T39" fmla="*/ 3 h 312"/>
                  <a:gd name="T40" fmla="*/ 34 w 306"/>
                  <a:gd name="T41" fmla="*/ 5 h 312"/>
                  <a:gd name="T42" fmla="*/ 35 w 306"/>
                  <a:gd name="T43" fmla="*/ 5 h 312"/>
                  <a:gd name="T44" fmla="*/ 41 w 306"/>
                  <a:gd name="T45" fmla="*/ 3 h 312"/>
                  <a:gd name="T46" fmla="*/ 47 w 306"/>
                  <a:gd name="T47" fmla="*/ 6 h 312"/>
                  <a:gd name="T48" fmla="*/ 49 w 306"/>
                  <a:gd name="T49" fmla="*/ 10 h 312"/>
                  <a:gd name="T50" fmla="*/ 51 w 306"/>
                  <a:gd name="T51" fmla="*/ 11 h 312"/>
                  <a:gd name="T52" fmla="*/ 55 w 306"/>
                  <a:gd name="T53" fmla="*/ 15 h 312"/>
                  <a:gd name="T54" fmla="*/ 59 w 306"/>
                  <a:gd name="T55" fmla="*/ 11 h 312"/>
                  <a:gd name="T56" fmla="*/ 67 w 306"/>
                  <a:gd name="T57" fmla="*/ 10 h 312"/>
                  <a:gd name="T58" fmla="*/ 73 w 306"/>
                  <a:gd name="T59" fmla="*/ 11 h 312"/>
                  <a:gd name="T60" fmla="*/ 76 w 306"/>
                  <a:gd name="T61" fmla="*/ 13 h 312"/>
                  <a:gd name="T62" fmla="*/ 80 w 306"/>
                  <a:gd name="T63" fmla="*/ 16 h 312"/>
                  <a:gd name="T64" fmla="*/ 80 w 306"/>
                  <a:gd name="T65" fmla="*/ 22 h 312"/>
                  <a:gd name="T66" fmla="*/ 83 w 306"/>
                  <a:gd name="T67" fmla="*/ 29 h 312"/>
                  <a:gd name="T68" fmla="*/ 80 w 306"/>
                  <a:gd name="T69" fmla="*/ 35 h 312"/>
                  <a:gd name="T70" fmla="*/ 76 w 306"/>
                  <a:gd name="T71" fmla="*/ 42 h 312"/>
                  <a:gd name="T72" fmla="*/ 74 w 306"/>
                  <a:gd name="T73" fmla="*/ 49 h 312"/>
                  <a:gd name="T74" fmla="*/ 73 w 306"/>
                  <a:gd name="T75" fmla="*/ 59 h 312"/>
                  <a:gd name="T76" fmla="*/ 76 w 306"/>
                  <a:gd name="T77" fmla="*/ 65 h 312"/>
                  <a:gd name="T78" fmla="*/ 80 w 306"/>
                  <a:gd name="T79" fmla="*/ 70 h 312"/>
                  <a:gd name="T80" fmla="*/ 76 w 306"/>
                  <a:gd name="T81" fmla="*/ 75 h 312"/>
                  <a:gd name="T82" fmla="*/ 71 w 306"/>
                  <a:gd name="T83" fmla="*/ 75 h 312"/>
                  <a:gd name="T84" fmla="*/ 59 w 306"/>
                  <a:gd name="T85" fmla="*/ 73 h 312"/>
                  <a:gd name="T86" fmla="*/ 41 w 306"/>
                  <a:gd name="T87" fmla="*/ 75 h 312"/>
                  <a:gd name="T88" fmla="*/ 34 w 306"/>
                  <a:gd name="T89" fmla="*/ 76 h 312"/>
                  <a:gd name="T90" fmla="*/ 31 w 306"/>
                  <a:gd name="T91" fmla="*/ 78 h 312"/>
                  <a:gd name="T92" fmla="*/ 23 w 306"/>
                  <a:gd name="T93" fmla="*/ 81 h 312"/>
                  <a:gd name="T94" fmla="*/ 18 w 306"/>
                  <a:gd name="T95" fmla="*/ 84 h 312"/>
                  <a:gd name="T96" fmla="*/ 14 w 306"/>
                  <a:gd name="T97" fmla="*/ 80 h 312"/>
                  <a:gd name="T98" fmla="*/ 16 w 306"/>
                  <a:gd name="T99" fmla="*/ 73 h 312"/>
                  <a:gd name="T100" fmla="*/ 18 w 306"/>
                  <a:gd name="T101" fmla="*/ 70 h 312"/>
                  <a:gd name="T102" fmla="*/ 16 w 306"/>
                  <a:gd name="T103" fmla="*/ 67 h 312"/>
                  <a:gd name="T104" fmla="*/ 13 w 306"/>
                  <a:gd name="T105" fmla="*/ 65 h 312"/>
                  <a:gd name="T106" fmla="*/ 9 w 306"/>
                  <a:gd name="T107" fmla="*/ 60 h 312"/>
                  <a:gd name="T108" fmla="*/ 9 w 306"/>
                  <a:gd name="T109" fmla="*/ 59 h 312"/>
                  <a:gd name="T110" fmla="*/ 3 w 306"/>
                  <a:gd name="T111" fmla="*/ 59 h 312"/>
                  <a:gd name="T112" fmla="*/ 2 w 306"/>
                  <a:gd name="T113" fmla="*/ 55 h 312"/>
                  <a:gd name="T114" fmla="*/ 5 w 306"/>
                  <a:gd name="T115" fmla="*/ 51 h 312"/>
                  <a:gd name="T116" fmla="*/ 3 w 306"/>
                  <a:gd name="T117" fmla="*/ 44 h 31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06" h="312">
                    <a:moveTo>
                      <a:pt x="12" y="156"/>
                    </a:moveTo>
                    <a:lnTo>
                      <a:pt x="18" y="156"/>
                    </a:lnTo>
                    <a:lnTo>
                      <a:pt x="24" y="156"/>
                    </a:lnTo>
                    <a:lnTo>
                      <a:pt x="24" y="150"/>
                    </a:lnTo>
                    <a:lnTo>
                      <a:pt x="30" y="150"/>
                    </a:lnTo>
                    <a:lnTo>
                      <a:pt x="30" y="144"/>
                    </a:lnTo>
                    <a:lnTo>
                      <a:pt x="24" y="144"/>
                    </a:lnTo>
                    <a:lnTo>
                      <a:pt x="24" y="138"/>
                    </a:lnTo>
                    <a:lnTo>
                      <a:pt x="30" y="138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30" y="132"/>
                    </a:lnTo>
                    <a:lnTo>
                      <a:pt x="30" y="126"/>
                    </a:lnTo>
                    <a:lnTo>
                      <a:pt x="24" y="126"/>
                    </a:lnTo>
                    <a:lnTo>
                      <a:pt x="24" y="120"/>
                    </a:lnTo>
                    <a:lnTo>
                      <a:pt x="18" y="120"/>
                    </a:lnTo>
                    <a:lnTo>
                      <a:pt x="24" y="120"/>
                    </a:lnTo>
                    <a:lnTo>
                      <a:pt x="18" y="120"/>
                    </a:lnTo>
                    <a:lnTo>
                      <a:pt x="24" y="114"/>
                    </a:lnTo>
                    <a:lnTo>
                      <a:pt x="18" y="114"/>
                    </a:lnTo>
                    <a:lnTo>
                      <a:pt x="18" y="108"/>
                    </a:lnTo>
                    <a:lnTo>
                      <a:pt x="24" y="114"/>
                    </a:lnTo>
                    <a:lnTo>
                      <a:pt x="24" y="108"/>
                    </a:lnTo>
                    <a:lnTo>
                      <a:pt x="30" y="108"/>
                    </a:lnTo>
                    <a:lnTo>
                      <a:pt x="36" y="108"/>
                    </a:lnTo>
                    <a:lnTo>
                      <a:pt x="36" y="114"/>
                    </a:lnTo>
                    <a:lnTo>
                      <a:pt x="36" y="108"/>
                    </a:lnTo>
                    <a:lnTo>
                      <a:pt x="36" y="114"/>
                    </a:lnTo>
                    <a:lnTo>
                      <a:pt x="42" y="114"/>
                    </a:lnTo>
                    <a:lnTo>
                      <a:pt x="42" y="108"/>
                    </a:lnTo>
                    <a:lnTo>
                      <a:pt x="42" y="114"/>
                    </a:lnTo>
                    <a:lnTo>
                      <a:pt x="48" y="114"/>
                    </a:lnTo>
                    <a:lnTo>
                      <a:pt x="48" y="108"/>
                    </a:lnTo>
                    <a:lnTo>
                      <a:pt x="48" y="102"/>
                    </a:lnTo>
                    <a:lnTo>
                      <a:pt x="42" y="96"/>
                    </a:lnTo>
                    <a:lnTo>
                      <a:pt x="36" y="96"/>
                    </a:lnTo>
                    <a:lnTo>
                      <a:pt x="36" y="90"/>
                    </a:lnTo>
                    <a:lnTo>
                      <a:pt x="36" y="84"/>
                    </a:lnTo>
                    <a:lnTo>
                      <a:pt x="42" y="84"/>
                    </a:lnTo>
                    <a:lnTo>
                      <a:pt x="42" y="78"/>
                    </a:lnTo>
                    <a:lnTo>
                      <a:pt x="48" y="78"/>
                    </a:lnTo>
                    <a:lnTo>
                      <a:pt x="42" y="78"/>
                    </a:lnTo>
                    <a:lnTo>
                      <a:pt x="36" y="78"/>
                    </a:lnTo>
                    <a:lnTo>
                      <a:pt x="36" y="72"/>
                    </a:lnTo>
                    <a:lnTo>
                      <a:pt x="36" y="66"/>
                    </a:lnTo>
                    <a:lnTo>
                      <a:pt x="42" y="66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6" y="66"/>
                    </a:lnTo>
                    <a:lnTo>
                      <a:pt x="30" y="66"/>
                    </a:lnTo>
                    <a:lnTo>
                      <a:pt x="30" y="60"/>
                    </a:lnTo>
                    <a:lnTo>
                      <a:pt x="24" y="60"/>
                    </a:lnTo>
                    <a:lnTo>
                      <a:pt x="24" y="54"/>
                    </a:lnTo>
                    <a:lnTo>
                      <a:pt x="24" y="48"/>
                    </a:lnTo>
                    <a:lnTo>
                      <a:pt x="24" y="42"/>
                    </a:lnTo>
                    <a:lnTo>
                      <a:pt x="30" y="42"/>
                    </a:lnTo>
                    <a:lnTo>
                      <a:pt x="24" y="42"/>
                    </a:lnTo>
                    <a:lnTo>
                      <a:pt x="30" y="42"/>
                    </a:lnTo>
                    <a:lnTo>
                      <a:pt x="24" y="42"/>
                    </a:lnTo>
                    <a:lnTo>
                      <a:pt x="30" y="42"/>
                    </a:lnTo>
                    <a:lnTo>
                      <a:pt x="24" y="42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24" y="36"/>
                    </a:lnTo>
                    <a:lnTo>
                      <a:pt x="30" y="30"/>
                    </a:lnTo>
                    <a:lnTo>
                      <a:pt x="36" y="24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48" y="18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72" y="24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84" y="18"/>
                    </a:lnTo>
                    <a:lnTo>
                      <a:pt x="90" y="18"/>
                    </a:lnTo>
                    <a:lnTo>
                      <a:pt x="96" y="18"/>
                    </a:lnTo>
                    <a:lnTo>
                      <a:pt x="102" y="12"/>
                    </a:lnTo>
                    <a:lnTo>
                      <a:pt x="96" y="12"/>
                    </a:lnTo>
                    <a:lnTo>
                      <a:pt x="96" y="6"/>
                    </a:lnTo>
                    <a:lnTo>
                      <a:pt x="102" y="6"/>
                    </a:lnTo>
                    <a:lnTo>
                      <a:pt x="102" y="0"/>
                    </a:lnTo>
                    <a:lnTo>
                      <a:pt x="102" y="6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08" y="6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6"/>
                    </a:lnTo>
                    <a:lnTo>
                      <a:pt x="120" y="12"/>
                    </a:lnTo>
                    <a:lnTo>
                      <a:pt x="120" y="6"/>
                    </a:lnTo>
                    <a:lnTo>
                      <a:pt x="120" y="12"/>
                    </a:lnTo>
                    <a:lnTo>
                      <a:pt x="126" y="12"/>
                    </a:lnTo>
                    <a:lnTo>
                      <a:pt x="120" y="12"/>
                    </a:lnTo>
                    <a:lnTo>
                      <a:pt x="126" y="12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26" y="18"/>
                    </a:lnTo>
                    <a:lnTo>
                      <a:pt x="120" y="18"/>
                    </a:lnTo>
                    <a:lnTo>
                      <a:pt x="120" y="24"/>
                    </a:lnTo>
                    <a:lnTo>
                      <a:pt x="126" y="24"/>
                    </a:lnTo>
                    <a:lnTo>
                      <a:pt x="132" y="24"/>
                    </a:lnTo>
                    <a:lnTo>
                      <a:pt x="132" y="18"/>
                    </a:lnTo>
                    <a:lnTo>
                      <a:pt x="138" y="18"/>
                    </a:lnTo>
                    <a:lnTo>
                      <a:pt x="138" y="12"/>
                    </a:lnTo>
                    <a:lnTo>
                      <a:pt x="144" y="12"/>
                    </a:lnTo>
                    <a:lnTo>
                      <a:pt x="150" y="12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62" y="18"/>
                    </a:lnTo>
                    <a:lnTo>
                      <a:pt x="168" y="18"/>
                    </a:lnTo>
                    <a:lnTo>
                      <a:pt x="174" y="18"/>
                    </a:lnTo>
                    <a:lnTo>
                      <a:pt x="174" y="24"/>
                    </a:lnTo>
                    <a:lnTo>
                      <a:pt x="180" y="24"/>
                    </a:lnTo>
                    <a:lnTo>
                      <a:pt x="174" y="24"/>
                    </a:lnTo>
                    <a:lnTo>
                      <a:pt x="180" y="24"/>
                    </a:lnTo>
                    <a:lnTo>
                      <a:pt x="180" y="30"/>
                    </a:lnTo>
                    <a:lnTo>
                      <a:pt x="180" y="36"/>
                    </a:lnTo>
                    <a:lnTo>
                      <a:pt x="186" y="36"/>
                    </a:lnTo>
                    <a:lnTo>
                      <a:pt x="180" y="36"/>
                    </a:lnTo>
                    <a:lnTo>
                      <a:pt x="186" y="36"/>
                    </a:lnTo>
                    <a:lnTo>
                      <a:pt x="180" y="42"/>
                    </a:lnTo>
                    <a:lnTo>
                      <a:pt x="186" y="42"/>
                    </a:lnTo>
                    <a:lnTo>
                      <a:pt x="192" y="42"/>
                    </a:lnTo>
                    <a:lnTo>
                      <a:pt x="192" y="48"/>
                    </a:lnTo>
                    <a:lnTo>
                      <a:pt x="198" y="48"/>
                    </a:lnTo>
                    <a:lnTo>
                      <a:pt x="204" y="48"/>
                    </a:lnTo>
                    <a:lnTo>
                      <a:pt x="204" y="54"/>
                    </a:lnTo>
                    <a:lnTo>
                      <a:pt x="210" y="54"/>
                    </a:lnTo>
                    <a:lnTo>
                      <a:pt x="216" y="54"/>
                    </a:lnTo>
                    <a:lnTo>
                      <a:pt x="216" y="48"/>
                    </a:lnTo>
                    <a:lnTo>
                      <a:pt x="222" y="48"/>
                    </a:lnTo>
                    <a:lnTo>
                      <a:pt x="222" y="42"/>
                    </a:lnTo>
                    <a:lnTo>
                      <a:pt x="228" y="42"/>
                    </a:lnTo>
                    <a:lnTo>
                      <a:pt x="234" y="42"/>
                    </a:lnTo>
                    <a:lnTo>
                      <a:pt x="240" y="42"/>
                    </a:lnTo>
                    <a:lnTo>
                      <a:pt x="240" y="36"/>
                    </a:lnTo>
                    <a:lnTo>
                      <a:pt x="246" y="36"/>
                    </a:lnTo>
                    <a:lnTo>
                      <a:pt x="252" y="36"/>
                    </a:lnTo>
                    <a:lnTo>
                      <a:pt x="258" y="36"/>
                    </a:lnTo>
                    <a:lnTo>
                      <a:pt x="264" y="36"/>
                    </a:lnTo>
                    <a:lnTo>
                      <a:pt x="264" y="42"/>
                    </a:lnTo>
                    <a:lnTo>
                      <a:pt x="270" y="42"/>
                    </a:lnTo>
                    <a:lnTo>
                      <a:pt x="270" y="36"/>
                    </a:lnTo>
                    <a:lnTo>
                      <a:pt x="270" y="42"/>
                    </a:lnTo>
                    <a:lnTo>
                      <a:pt x="276" y="42"/>
                    </a:lnTo>
                    <a:lnTo>
                      <a:pt x="276" y="48"/>
                    </a:lnTo>
                    <a:lnTo>
                      <a:pt x="282" y="48"/>
                    </a:lnTo>
                    <a:lnTo>
                      <a:pt x="282" y="54"/>
                    </a:lnTo>
                    <a:lnTo>
                      <a:pt x="288" y="60"/>
                    </a:lnTo>
                    <a:lnTo>
                      <a:pt x="288" y="66"/>
                    </a:lnTo>
                    <a:lnTo>
                      <a:pt x="294" y="66"/>
                    </a:lnTo>
                    <a:lnTo>
                      <a:pt x="294" y="60"/>
                    </a:lnTo>
                    <a:lnTo>
                      <a:pt x="294" y="66"/>
                    </a:lnTo>
                    <a:lnTo>
                      <a:pt x="294" y="72"/>
                    </a:lnTo>
                    <a:lnTo>
                      <a:pt x="300" y="72"/>
                    </a:lnTo>
                    <a:lnTo>
                      <a:pt x="294" y="72"/>
                    </a:lnTo>
                    <a:lnTo>
                      <a:pt x="294" y="78"/>
                    </a:lnTo>
                    <a:lnTo>
                      <a:pt x="294" y="84"/>
                    </a:lnTo>
                    <a:lnTo>
                      <a:pt x="300" y="84"/>
                    </a:lnTo>
                    <a:lnTo>
                      <a:pt x="300" y="90"/>
                    </a:lnTo>
                    <a:lnTo>
                      <a:pt x="300" y="96"/>
                    </a:lnTo>
                    <a:lnTo>
                      <a:pt x="306" y="108"/>
                    </a:lnTo>
                    <a:lnTo>
                      <a:pt x="306" y="114"/>
                    </a:lnTo>
                    <a:lnTo>
                      <a:pt x="306" y="120"/>
                    </a:lnTo>
                    <a:lnTo>
                      <a:pt x="306" y="126"/>
                    </a:lnTo>
                    <a:lnTo>
                      <a:pt x="300" y="126"/>
                    </a:lnTo>
                    <a:lnTo>
                      <a:pt x="300" y="132"/>
                    </a:lnTo>
                    <a:lnTo>
                      <a:pt x="294" y="132"/>
                    </a:lnTo>
                    <a:lnTo>
                      <a:pt x="294" y="138"/>
                    </a:lnTo>
                    <a:lnTo>
                      <a:pt x="288" y="144"/>
                    </a:lnTo>
                    <a:lnTo>
                      <a:pt x="288" y="150"/>
                    </a:lnTo>
                    <a:lnTo>
                      <a:pt x="282" y="156"/>
                    </a:lnTo>
                    <a:lnTo>
                      <a:pt x="282" y="162"/>
                    </a:lnTo>
                    <a:lnTo>
                      <a:pt x="282" y="168"/>
                    </a:lnTo>
                    <a:lnTo>
                      <a:pt x="282" y="174"/>
                    </a:lnTo>
                    <a:lnTo>
                      <a:pt x="282" y="180"/>
                    </a:lnTo>
                    <a:lnTo>
                      <a:pt x="276" y="180"/>
                    </a:lnTo>
                    <a:lnTo>
                      <a:pt x="276" y="186"/>
                    </a:lnTo>
                    <a:lnTo>
                      <a:pt x="270" y="192"/>
                    </a:lnTo>
                    <a:lnTo>
                      <a:pt x="270" y="198"/>
                    </a:lnTo>
                    <a:lnTo>
                      <a:pt x="270" y="204"/>
                    </a:lnTo>
                    <a:lnTo>
                      <a:pt x="270" y="216"/>
                    </a:lnTo>
                    <a:lnTo>
                      <a:pt x="270" y="222"/>
                    </a:lnTo>
                    <a:lnTo>
                      <a:pt x="276" y="222"/>
                    </a:lnTo>
                    <a:lnTo>
                      <a:pt x="276" y="228"/>
                    </a:lnTo>
                    <a:lnTo>
                      <a:pt x="276" y="234"/>
                    </a:lnTo>
                    <a:lnTo>
                      <a:pt x="282" y="240"/>
                    </a:lnTo>
                    <a:lnTo>
                      <a:pt x="282" y="246"/>
                    </a:lnTo>
                    <a:lnTo>
                      <a:pt x="282" y="252"/>
                    </a:lnTo>
                    <a:lnTo>
                      <a:pt x="288" y="252"/>
                    </a:lnTo>
                    <a:lnTo>
                      <a:pt x="294" y="252"/>
                    </a:lnTo>
                    <a:lnTo>
                      <a:pt x="294" y="258"/>
                    </a:lnTo>
                    <a:lnTo>
                      <a:pt x="294" y="264"/>
                    </a:lnTo>
                    <a:lnTo>
                      <a:pt x="294" y="270"/>
                    </a:lnTo>
                    <a:lnTo>
                      <a:pt x="294" y="276"/>
                    </a:lnTo>
                    <a:lnTo>
                      <a:pt x="288" y="276"/>
                    </a:lnTo>
                    <a:lnTo>
                      <a:pt x="282" y="276"/>
                    </a:lnTo>
                    <a:lnTo>
                      <a:pt x="282" y="282"/>
                    </a:lnTo>
                    <a:lnTo>
                      <a:pt x="282" y="276"/>
                    </a:lnTo>
                    <a:lnTo>
                      <a:pt x="276" y="276"/>
                    </a:lnTo>
                    <a:lnTo>
                      <a:pt x="270" y="276"/>
                    </a:lnTo>
                    <a:lnTo>
                      <a:pt x="264" y="276"/>
                    </a:lnTo>
                    <a:lnTo>
                      <a:pt x="240" y="276"/>
                    </a:lnTo>
                    <a:lnTo>
                      <a:pt x="234" y="270"/>
                    </a:lnTo>
                    <a:lnTo>
                      <a:pt x="228" y="270"/>
                    </a:lnTo>
                    <a:lnTo>
                      <a:pt x="222" y="270"/>
                    </a:lnTo>
                    <a:lnTo>
                      <a:pt x="216" y="270"/>
                    </a:lnTo>
                    <a:lnTo>
                      <a:pt x="198" y="276"/>
                    </a:lnTo>
                    <a:lnTo>
                      <a:pt x="192" y="276"/>
                    </a:lnTo>
                    <a:lnTo>
                      <a:pt x="180" y="276"/>
                    </a:lnTo>
                    <a:lnTo>
                      <a:pt x="168" y="276"/>
                    </a:lnTo>
                    <a:lnTo>
                      <a:pt x="156" y="276"/>
                    </a:lnTo>
                    <a:lnTo>
                      <a:pt x="150" y="282"/>
                    </a:lnTo>
                    <a:lnTo>
                      <a:pt x="144" y="282"/>
                    </a:lnTo>
                    <a:lnTo>
                      <a:pt x="138" y="282"/>
                    </a:lnTo>
                    <a:lnTo>
                      <a:pt x="132" y="282"/>
                    </a:lnTo>
                    <a:lnTo>
                      <a:pt x="126" y="282"/>
                    </a:lnTo>
                    <a:lnTo>
                      <a:pt x="126" y="288"/>
                    </a:lnTo>
                    <a:lnTo>
                      <a:pt x="120" y="288"/>
                    </a:lnTo>
                    <a:lnTo>
                      <a:pt x="126" y="288"/>
                    </a:lnTo>
                    <a:lnTo>
                      <a:pt x="120" y="288"/>
                    </a:lnTo>
                    <a:lnTo>
                      <a:pt x="114" y="288"/>
                    </a:lnTo>
                    <a:lnTo>
                      <a:pt x="114" y="294"/>
                    </a:lnTo>
                    <a:lnTo>
                      <a:pt x="108" y="294"/>
                    </a:lnTo>
                    <a:lnTo>
                      <a:pt x="102" y="294"/>
                    </a:lnTo>
                    <a:lnTo>
                      <a:pt x="96" y="300"/>
                    </a:lnTo>
                    <a:lnTo>
                      <a:pt x="84" y="300"/>
                    </a:lnTo>
                    <a:lnTo>
                      <a:pt x="84" y="306"/>
                    </a:lnTo>
                    <a:lnTo>
                      <a:pt x="78" y="306"/>
                    </a:lnTo>
                    <a:lnTo>
                      <a:pt x="72" y="306"/>
                    </a:lnTo>
                    <a:lnTo>
                      <a:pt x="72" y="312"/>
                    </a:lnTo>
                    <a:lnTo>
                      <a:pt x="66" y="312"/>
                    </a:lnTo>
                    <a:lnTo>
                      <a:pt x="60" y="312"/>
                    </a:lnTo>
                    <a:lnTo>
                      <a:pt x="54" y="312"/>
                    </a:lnTo>
                    <a:lnTo>
                      <a:pt x="54" y="306"/>
                    </a:lnTo>
                    <a:lnTo>
                      <a:pt x="54" y="300"/>
                    </a:lnTo>
                    <a:lnTo>
                      <a:pt x="54" y="294"/>
                    </a:lnTo>
                    <a:lnTo>
                      <a:pt x="54" y="288"/>
                    </a:lnTo>
                    <a:lnTo>
                      <a:pt x="54" y="282"/>
                    </a:lnTo>
                    <a:lnTo>
                      <a:pt x="54" y="276"/>
                    </a:lnTo>
                    <a:lnTo>
                      <a:pt x="60" y="276"/>
                    </a:lnTo>
                    <a:lnTo>
                      <a:pt x="60" y="270"/>
                    </a:lnTo>
                    <a:lnTo>
                      <a:pt x="66" y="270"/>
                    </a:lnTo>
                    <a:lnTo>
                      <a:pt x="66" y="264"/>
                    </a:lnTo>
                    <a:lnTo>
                      <a:pt x="60" y="264"/>
                    </a:lnTo>
                    <a:lnTo>
                      <a:pt x="60" y="258"/>
                    </a:lnTo>
                    <a:lnTo>
                      <a:pt x="66" y="258"/>
                    </a:lnTo>
                    <a:lnTo>
                      <a:pt x="60" y="258"/>
                    </a:lnTo>
                    <a:lnTo>
                      <a:pt x="60" y="252"/>
                    </a:lnTo>
                    <a:lnTo>
                      <a:pt x="66" y="252"/>
                    </a:lnTo>
                    <a:lnTo>
                      <a:pt x="60" y="252"/>
                    </a:lnTo>
                    <a:lnTo>
                      <a:pt x="60" y="246"/>
                    </a:lnTo>
                    <a:lnTo>
                      <a:pt x="60" y="240"/>
                    </a:lnTo>
                    <a:lnTo>
                      <a:pt x="54" y="240"/>
                    </a:lnTo>
                    <a:lnTo>
                      <a:pt x="48" y="240"/>
                    </a:lnTo>
                    <a:lnTo>
                      <a:pt x="48" y="234"/>
                    </a:lnTo>
                    <a:lnTo>
                      <a:pt x="48" y="240"/>
                    </a:lnTo>
                    <a:lnTo>
                      <a:pt x="48" y="234"/>
                    </a:lnTo>
                    <a:lnTo>
                      <a:pt x="42" y="234"/>
                    </a:lnTo>
                    <a:lnTo>
                      <a:pt x="42" y="228"/>
                    </a:lnTo>
                    <a:lnTo>
                      <a:pt x="42" y="222"/>
                    </a:lnTo>
                    <a:lnTo>
                      <a:pt x="36" y="222"/>
                    </a:lnTo>
                    <a:lnTo>
                      <a:pt x="36" y="216"/>
                    </a:lnTo>
                    <a:lnTo>
                      <a:pt x="36" y="222"/>
                    </a:lnTo>
                    <a:lnTo>
                      <a:pt x="36" y="216"/>
                    </a:lnTo>
                    <a:lnTo>
                      <a:pt x="36" y="222"/>
                    </a:lnTo>
                    <a:lnTo>
                      <a:pt x="36" y="216"/>
                    </a:lnTo>
                    <a:lnTo>
                      <a:pt x="30" y="216"/>
                    </a:lnTo>
                    <a:lnTo>
                      <a:pt x="24" y="222"/>
                    </a:lnTo>
                    <a:lnTo>
                      <a:pt x="24" y="216"/>
                    </a:lnTo>
                    <a:lnTo>
                      <a:pt x="18" y="216"/>
                    </a:lnTo>
                    <a:lnTo>
                      <a:pt x="12" y="216"/>
                    </a:lnTo>
                    <a:lnTo>
                      <a:pt x="12" y="210"/>
                    </a:lnTo>
                    <a:lnTo>
                      <a:pt x="6" y="210"/>
                    </a:lnTo>
                    <a:lnTo>
                      <a:pt x="0" y="210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12" y="204"/>
                    </a:lnTo>
                    <a:lnTo>
                      <a:pt x="12" y="198"/>
                    </a:lnTo>
                    <a:lnTo>
                      <a:pt x="18" y="198"/>
                    </a:lnTo>
                    <a:lnTo>
                      <a:pt x="18" y="192"/>
                    </a:lnTo>
                    <a:lnTo>
                      <a:pt x="18" y="186"/>
                    </a:lnTo>
                    <a:lnTo>
                      <a:pt x="18" y="180"/>
                    </a:lnTo>
                    <a:lnTo>
                      <a:pt x="18" y="174"/>
                    </a:lnTo>
                    <a:lnTo>
                      <a:pt x="12" y="174"/>
                    </a:lnTo>
                    <a:lnTo>
                      <a:pt x="12" y="168"/>
                    </a:lnTo>
                    <a:lnTo>
                      <a:pt x="12" y="162"/>
                    </a:lnTo>
                    <a:lnTo>
                      <a:pt x="12" y="156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6" name="Freeform 112"/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752" y="2104"/>
                <a:ext cx="164" cy="169"/>
              </a:xfrm>
              <a:custGeom>
                <a:avLst/>
                <a:gdLst>
                  <a:gd name="T0" fmla="*/ 2 w 204"/>
                  <a:gd name="T1" fmla="*/ 19 h 210"/>
                  <a:gd name="T2" fmla="*/ 5 w 204"/>
                  <a:gd name="T3" fmla="*/ 15 h 210"/>
                  <a:gd name="T4" fmla="*/ 8 w 204"/>
                  <a:gd name="T5" fmla="*/ 13 h 210"/>
                  <a:gd name="T6" fmla="*/ 9 w 204"/>
                  <a:gd name="T7" fmla="*/ 10 h 210"/>
                  <a:gd name="T8" fmla="*/ 13 w 204"/>
                  <a:gd name="T9" fmla="*/ 5 h 210"/>
                  <a:gd name="T10" fmla="*/ 14 w 204"/>
                  <a:gd name="T11" fmla="*/ 2 h 210"/>
                  <a:gd name="T12" fmla="*/ 18 w 204"/>
                  <a:gd name="T13" fmla="*/ 0 h 210"/>
                  <a:gd name="T14" fmla="*/ 20 w 204"/>
                  <a:gd name="T15" fmla="*/ 0 h 210"/>
                  <a:gd name="T16" fmla="*/ 22 w 204"/>
                  <a:gd name="T17" fmla="*/ 0 h 210"/>
                  <a:gd name="T18" fmla="*/ 23 w 204"/>
                  <a:gd name="T19" fmla="*/ 0 h 210"/>
                  <a:gd name="T20" fmla="*/ 26 w 204"/>
                  <a:gd name="T21" fmla="*/ 2 h 210"/>
                  <a:gd name="T22" fmla="*/ 26 w 204"/>
                  <a:gd name="T23" fmla="*/ 6 h 210"/>
                  <a:gd name="T24" fmla="*/ 28 w 204"/>
                  <a:gd name="T25" fmla="*/ 10 h 210"/>
                  <a:gd name="T26" fmla="*/ 28 w 204"/>
                  <a:gd name="T27" fmla="*/ 15 h 210"/>
                  <a:gd name="T28" fmla="*/ 26 w 204"/>
                  <a:gd name="T29" fmla="*/ 15 h 210"/>
                  <a:gd name="T30" fmla="*/ 29 w 204"/>
                  <a:gd name="T31" fmla="*/ 16 h 210"/>
                  <a:gd name="T32" fmla="*/ 32 w 204"/>
                  <a:gd name="T33" fmla="*/ 19 h 210"/>
                  <a:gd name="T34" fmla="*/ 35 w 204"/>
                  <a:gd name="T35" fmla="*/ 16 h 210"/>
                  <a:gd name="T36" fmla="*/ 34 w 204"/>
                  <a:gd name="T37" fmla="*/ 16 h 210"/>
                  <a:gd name="T38" fmla="*/ 35 w 204"/>
                  <a:gd name="T39" fmla="*/ 13 h 210"/>
                  <a:gd name="T40" fmla="*/ 39 w 204"/>
                  <a:gd name="T41" fmla="*/ 13 h 210"/>
                  <a:gd name="T42" fmla="*/ 41 w 204"/>
                  <a:gd name="T43" fmla="*/ 16 h 210"/>
                  <a:gd name="T44" fmla="*/ 41 w 204"/>
                  <a:gd name="T45" fmla="*/ 20 h 210"/>
                  <a:gd name="T46" fmla="*/ 41 w 204"/>
                  <a:gd name="T47" fmla="*/ 25 h 210"/>
                  <a:gd name="T48" fmla="*/ 39 w 204"/>
                  <a:gd name="T49" fmla="*/ 26 h 210"/>
                  <a:gd name="T50" fmla="*/ 39 w 204"/>
                  <a:gd name="T51" fmla="*/ 28 h 210"/>
                  <a:gd name="T52" fmla="*/ 41 w 204"/>
                  <a:gd name="T53" fmla="*/ 29 h 210"/>
                  <a:gd name="T54" fmla="*/ 46 w 204"/>
                  <a:gd name="T55" fmla="*/ 29 h 210"/>
                  <a:gd name="T56" fmla="*/ 47 w 204"/>
                  <a:gd name="T57" fmla="*/ 29 h 210"/>
                  <a:gd name="T58" fmla="*/ 47 w 204"/>
                  <a:gd name="T59" fmla="*/ 31 h 210"/>
                  <a:gd name="T60" fmla="*/ 49 w 204"/>
                  <a:gd name="T61" fmla="*/ 34 h 210"/>
                  <a:gd name="T62" fmla="*/ 51 w 204"/>
                  <a:gd name="T63" fmla="*/ 34 h 210"/>
                  <a:gd name="T64" fmla="*/ 54 w 204"/>
                  <a:gd name="T65" fmla="*/ 35 h 210"/>
                  <a:gd name="T66" fmla="*/ 55 w 204"/>
                  <a:gd name="T67" fmla="*/ 39 h 210"/>
                  <a:gd name="T68" fmla="*/ 55 w 204"/>
                  <a:gd name="T69" fmla="*/ 41 h 210"/>
                  <a:gd name="T70" fmla="*/ 55 w 204"/>
                  <a:gd name="T71" fmla="*/ 42 h 210"/>
                  <a:gd name="T72" fmla="*/ 54 w 204"/>
                  <a:gd name="T73" fmla="*/ 46 h 210"/>
                  <a:gd name="T74" fmla="*/ 51 w 204"/>
                  <a:gd name="T75" fmla="*/ 49 h 210"/>
                  <a:gd name="T76" fmla="*/ 51 w 204"/>
                  <a:gd name="T77" fmla="*/ 54 h 210"/>
                  <a:gd name="T78" fmla="*/ 51 w 204"/>
                  <a:gd name="T79" fmla="*/ 55 h 210"/>
                  <a:gd name="T80" fmla="*/ 44 w 204"/>
                  <a:gd name="T81" fmla="*/ 54 h 210"/>
                  <a:gd name="T82" fmla="*/ 41 w 204"/>
                  <a:gd name="T83" fmla="*/ 52 h 210"/>
                  <a:gd name="T84" fmla="*/ 38 w 204"/>
                  <a:gd name="T85" fmla="*/ 51 h 210"/>
                  <a:gd name="T86" fmla="*/ 34 w 204"/>
                  <a:gd name="T87" fmla="*/ 49 h 210"/>
                  <a:gd name="T88" fmla="*/ 31 w 204"/>
                  <a:gd name="T89" fmla="*/ 47 h 210"/>
                  <a:gd name="T90" fmla="*/ 28 w 204"/>
                  <a:gd name="T91" fmla="*/ 44 h 210"/>
                  <a:gd name="T92" fmla="*/ 26 w 204"/>
                  <a:gd name="T93" fmla="*/ 44 h 210"/>
                  <a:gd name="T94" fmla="*/ 25 w 204"/>
                  <a:gd name="T95" fmla="*/ 41 h 210"/>
                  <a:gd name="T96" fmla="*/ 26 w 204"/>
                  <a:gd name="T97" fmla="*/ 42 h 210"/>
                  <a:gd name="T98" fmla="*/ 26 w 204"/>
                  <a:gd name="T99" fmla="*/ 41 h 210"/>
                  <a:gd name="T100" fmla="*/ 22 w 204"/>
                  <a:gd name="T101" fmla="*/ 39 h 210"/>
                  <a:gd name="T102" fmla="*/ 20 w 204"/>
                  <a:gd name="T103" fmla="*/ 35 h 210"/>
                  <a:gd name="T104" fmla="*/ 20 w 204"/>
                  <a:gd name="T105" fmla="*/ 34 h 210"/>
                  <a:gd name="T106" fmla="*/ 18 w 204"/>
                  <a:gd name="T107" fmla="*/ 34 h 210"/>
                  <a:gd name="T108" fmla="*/ 16 w 204"/>
                  <a:gd name="T109" fmla="*/ 34 h 210"/>
                  <a:gd name="T110" fmla="*/ 13 w 204"/>
                  <a:gd name="T111" fmla="*/ 31 h 210"/>
                  <a:gd name="T112" fmla="*/ 8 w 204"/>
                  <a:gd name="T113" fmla="*/ 29 h 210"/>
                  <a:gd name="T114" fmla="*/ 9 w 204"/>
                  <a:gd name="T115" fmla="*/ 29 h 210"/>
                  <a:gd name="T116" fmla="*/ 6 w 204"/>
                  <a:gd name="T117" fmla="*/ 28 h 210"/>
                  <a:gd name="T118" fmla="*/ 2 w 204"/>
                  <a:gd name="T119" fmla="*/ 25 h 210"/>
                  <a:gd name="T120" fmla="*/ 0 w 204"/>
                  <a:gd name="T121" fmla="*/ 23 h 210"/>
                  <a:gd name="T122" fmla="*/ 0 w 204"/>
                  <a:gd name="T123" fmla="*/ 22 h 21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204" h="210">
                    <a:moveTo>
                      <a:pt x="0" y="78"/>
                    </a:moveTo>
                    <a:lnTo>
                      <a:pt x="6" y="72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12" y="60"/>
                    </a:lnTo>
                    <a:lnTo>
                      <a:pt x="18" y="54"/>
                    </a:lnTo>
                    <a:lnTo>
                      <a:pt x="24" y="54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2"/>
                    </a:lnTo>
                    <a:lnTo>
                      <a:pt x="36" y="42"/>
                    </a:lnTo>
                    <a:lnTo>
                      <a:pt x="36" y="36"/>
                    </a:lnTo>
                    <a:lnTo>
                      <a:pt x="42" y="36"/>
                    </a:lnTo>
                    <a:lnTo>
                      <a:pt x="42" y="24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66" y="6"/>
                    </a:lnTo>
                    <a:lnTo>
                      <a:pt x="72" y="6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84" y="6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90" y="6"/>
                    </a:lnTo>
                    <a:lnTo>
                      <a:pt x="96" y="6"/>
                    </a:lnTo>
                    <a:lnTo>
                      <a:pt x="96" y="12"/>
                    </a:lnTo>
                    <a:lnTo>
                      <a:pt x="96" y="18"/>
                    </a:lnTo>
                    <a:lnTo>
                      <a:pt x="96" y="24"/>
                    </a:lnTo>
                    <a:lnTo>
                      <a:pt x="102" y="24"/>
                    </a:lnTo>
                    <a:lnTo>
                      <a:pt x="102" y="30"/>
                    </a:lnTo>
                    <a:lnTo>
                      <a:pt x="102" y="36"/>
                    </a:lnTo>
                    <a:lnTo>
                      <a:pt x="102" y="42"/>
                    </a:lnTo>
                    <a:lnTo>
                      <a:pt x="102" y="48"/>
                    </a:lnTo>
                    <a:lnTo>
                      <a:pt x="102" y="54"/>
                    </a:lnTo>
                    <a:lnTo>
                      <a:pt x="96" y="54"/>
                    </a:lnTo>
                    <a:lnTo>
                      <a:pt x="96" y="60"/>
                    </a:lnTo>
                    <a:lnTo>
                      <a:pt x="96" y="54"/>
                    </a:lnTo>
                    <a:lnTo>
                      <a:pt x="102" y="54"/>
                    </a:lnTo>
                    <a:lnTo>
                      <a:pt x="108" y="54"/>
                    </a:lnTo>
                    <a:lnTo>
                      <a:pt x="108" y="60"/>
                    </a:lnTo>
                    <a:lnTo>
                      <a:pt x="114" y="60"/>
                    </a:lnTo>
                    <a:lnTo>
                      <a:pt x="114" y="66"/>
                    </a:lnTo>
                    <a:lnTo>
                      <a:pt x="120" y="66"/>
                    </a:lnTo>
                    <a:lnTo>
                      <a:pt x="120" y="60"/>
                    </a:lnTo>
                    <a:lnTo>
                      <a:pt x="126" y="60"/>
                    </a:lnTo>
                    <a:lnTo>
                      <a:pt x="132" y="60"/>
                    </a:lnTo>
                    <a:lnTo>
                      <a:pt x="126" y="60"/>
                    </a:lnTo>
                    <a:lnTo>
                      <a:pt x="132" y="60"/>
                    </a:lnTo>
                    <a:lnTo>
                      <a:pt x="126" y="60"/>
                    </a:lnTo>
                    <a:lnTo>
                      <a:pt x="132" y="54"/>
                    </a:lnTo>
                    <a:lnTo>
                      <a:pt x="138" y="48"/>
                    </a:lnTo>
                    <a:lnTo>
                      <a:pt x="132" y="48"/>
                    </a:lnTo>
                    <a:lnTo>
                      <a:pt x="138" y="42"/>
                    </a:lnTo>
                    <a:lnTo>
                      <a:pt x="144" y="42"/>
                    </a:lnTo>
                    <a:lnTo>
                      <a:pt x="144" y="48"/>
                    </a:lnTo>
                    <a:lnTo>
                      <a:pt x="150" y="48"/>
                    </a:lnTo>
                    <a:lnTo>
                      <a:pt x="150" y="54"/>
                    </a:lnTo>
                    <a:lnTo>
                      <a:pt x="150" y="60"/>
                    </a:lnTo>
                    <a:lnTo>
                      <a:pt x="150" y="66"/>
                    </a:lnTo>
                    <a:lnTo>
                      <a:pt x="156" y="66"/>
                    </a:lnTo>
                    <a:lnTo>
                      <a:pt x="156" y="72"/>
                    </a:lnTo>
                    <a:lnTo>
                      <a:pt x="156" y="78"/>
                    </a:lnTo>
                    <a:lnTo>
                      <a:pt x="156" y="84"/>
                    </a:lnTo>
                    <a:lnTo>
                      <a:pt x="156" y="90"/>
                    </a:lnTo>
                    <a:lnTo>
                      <a:pt x="150" y="90"/>
                    </a:lnTo>
                    <a:lnTo>
                      <a:pt x="150" y="96"/>
                    </a:lnTo>
                    <a:lnTo>
                      <a:pt x="144" y="96"/>
                    </a:lnTo>
                    <a:lnTo>
                      <a:pt x="144" y="102"/>
                    </a:lnTo>
                    <a:lnTo>
                      <a:pt x="138" y="102"/>
                    </a:lnTo>
                    <a:lnTo>
                      <a:pt x="144" y="102"/>
                    </a:lnTo>
                    <a:lnTo>
                      <a:pt x="150" y="102"/>
                    </a:lnTo>
                    <a:lnTo>
                      <a:pt x="150" y="108"/>
                    </a:lnTo>
                    <a:lnTo>
                      <a:pt x="156" y="108"/>
                    </a:lnTo>
                    <a:lnTo>
                      <a:pt x="162" y="108"/>
                    </a:lnTo>
                    <a:lnTo>
                      <a:pt x="162" y="114"/>
                    </a:lnTo>
                    <a:lnTo>
                      <a:pt x="168" y="108"/>
                    </a:lnTo>
                    <a:lnTo>
                      <a:pt x="174" y="108"/>
                    </a:lnTo>
                    <a:lnTo>
                      <a:pt x="174" y="114"/>
                    </a:lnTo>
                    <a:lnTo>
                      <a:pt x="174" y="108"/>
                    </a:lnTo>
                    <a:lnTo>
                      <a:pt x="174" y="114"/>
                    </a:lnTo>
                    <a:lnTo>
                      <a:pt x="174" y="108"/>
                    </a:lnTo>
                    <a:lnTo>
                      <a:pt x="174" y="114"/>
                    </a:lnTo>
                    <a:lnTo>
                      <a:pt x="180" y="114"/>
                    </a:lnTo>
                    <a:lnTo>
                      <a:pt x="180" y="120"/>
                    </a:lnTo>
                    <a:lnTo>
                      <a:pt x="180" y="126"/>
                    </a:lnTo>
                    <a:lnTo>
                      <a:pt x="186" y="126"/>
                    </a:lnTo>
                    <a:lnTo>
                      <a:pt x="186" y="132"/>
                    </a:lnTo>
                    <a:lnTo>
                      <a:pt x="186" y="126"/>
                    </a:lnTo>
                    <a:lnTo>
                      <a:pt x="186" y="132"/>
                    </a:lnTo>
                    <a:lnTo>
                      <a:pt x="192" y="132"/>
                    </a:lnTo>
                    <a:lnTo>
                      <a:pt x="198" y="132"/>
                    </a:lnTo>
                    <a:lnTo>
                      <a:pt x="198" y="138"/>
                    </a:lnTo>
                    <a:lnTo>
                      <a:pt x="198" y="144"/>
                    </a:lnTo>
                    <a:lnTo>
                      <a:pt x="204" y="144"/>
                    </a:lnTo>
                    <a:lnTo>
                      <a:pt x="198" y="144"/>
                    </a:lnTo>
                    <a:lnTo>
                      <a:pt x="198" y="150"/>
                    </a:lnTo>
                    <a:lnTo>
                      <a:pt x="204" y="150"/>
                    </a:lnTo>
                    <a:lnTo>
                      <a:pt x="198" y="150"/>
                    </a:lnTo>
                    <a:lnTo>
                      <a:pt x="198" y="156"/>
                    </a:lnTo>
                    <a:lnTo>
                      <a:pt x="204" y="156"/>
                    </a:lnTo>
                    <a:lnTo>
                      <a:pt x="204" y="162"/>
                    </a:lnTo>
                    <a:lnTo>
                      <a:pt x="198" y="162"/>
                    </a:lnTo>
                    <a:lnTo>
                      <a:pt x="198" y="168"/>
                    </a:lnTo>
                    <a:lnTo>
                      <a:pt x="192" y="168"/>
                    </a:lnTo>
                    <a:lnTo>
                      <a:pt x="192" y="174"/>
                    </a:lnTo>
                    <a:lnTo>
                      <a:pt x="192" y="180"/>
                    </a:lnTo>
                    <a:lnTo>
                      <a:pt x="192" y="186"/>
                    </a:lnTo>
                    <a:lnTo>
                      <a:pt x="192" y="192"/>
                    </a:lnTo>
                    <a:lnTo>
                      <a:pt x="192" y="198"/>
                    </a:lnTo>
                    <a:lnTo>
                      <a:pt x="192" y="204"/>
                    </a:lnTo>
                    <a:lnTo>
                      <a:pt x="192" y="210"/>
                    </a:lnTo>
                    <a:lnTo>
                      <a:pt x="186" y="204"/>
                    </a:lnTo>
                    <a:lnTo>
                      <a:pt x="180" y="204"/>
                    </a:lnTo>
                    <a:lnTo>
                      <a:pt x="174" y="198"/>
                    </a:lnTo>
                    <a:lnTo>
                      <a:pt x="162" y="198"/>
                    </a:lnTo>
                    <a:lnTo>
                      <a:pt x="156" y="198"/>
                    </a:lnTo>
                    <a:lnTo>
                      <a:pt x="156" y="192"/>
                    </a:lnTo>
                    <a:lnTo>
                      <a:pt x="150" y="192"/>
                    </a:lnTo>
                    <a:lnTo>
                      <a:pt x="144" y="192"/>
                    </a:lnTo>
                    <a:lnTo>
                      <a:pt x="144" y="186"/>
                    </a:lnTo>
                    <a:lnTo>
                      <a:pt x="138" y="186"/>
                    </a:lnTo>
                    <a:lnTo>
                      <a:pt x="132" y="186"/>
                    </a:lnTo>
                    <a:lnTo>
                      <a:pt x="132" y="180"/>
                    </a:lnTo>
                    <a:lnTo>
                      <a:pt x="126" y="180"/>
                    </a:lnTo>
                    <a:lnTo>
                      <a:pt x="126" y="174"/>
                    </a:lnTo>
                    <a:lnTo>
                      <a:pt x="120" y="174"/>
                    </a:lnTo>
                    <a:lnTo>
                      <a:pt x="114" y="174"/>
                    </a:lnTo>
                    <a:lnTo>
                      <a:pt x="114" y="168"/>
                    </a:lnTo>
                    <a:lnTo>
                      <a:pt x="108" y="168"/>
                    </a:lnTo>
                    <a:lnTo>
                      <a:pt x="102" y="162"/>
                    </a:lnTo>
                    <a:lnTo>
                      <a:pt x="108" y="162"/>
                    </a:lnTo>
                    <a:lnTo>
                      <a:pt x="102" y="162"/>
                    </a:lnTo>
                    <a:lnTo>
                      <a:pt x="96" y="162"/>
                    </a:lnTo>
                    <a:lnTo>
                      <a:pt x="96" y="156"/>
                    </a:lnTo>
                    <a:lnTo>
                      <a:pt x="90" y="156"/>
                    </a:lnTo>
                    <a:lnTo>
                      <a:pt x="90" y="150"/>
                    </a:lnTo>
                    <a:lnTo>
                      <a:pt x="90" y="156"/>
                    </a:lnTo>
                    <a:lnTo>
                      <a:pt x="90" y="150"/>
                    </a:lnTo>
                    <a:lnTo>
                      <a:pt x="96" y="156"/>
                    </a:lnTo>
                    <a:lnTo>
                      <a:pt x="96" y="150"/>
                    </a:lnTo>
                    <a:lnTo>
                      <a:pt x="90" y="150"/>
                    </a:lnTo>
                    <a:lnTo>
                      <a:pt x="96" y="150"/>
                    </a:lnTo>
                    <a:lnTo>
                      <a:pt x="90" y="150"/>
                    </a:lnTo>
                    <a:lnTo>
                      <a:pt x="84" y="144"/>
                    </a:lnTo>
                    <a:lnTo>
                      <a:pt x="78" y="144"/>
                    </a:lnTo>
                    <a:lnTo>
                      <a:pt x="78" y="138"/>
                    </a:lnTo>
                    <a:lnTo>
                      <a:pt x="72" y="138"/>
                    </a:lnTo>
                    <a:lnTo>
                      <a:pt x="72" y="132"/>
                    </a:lnTo>
                    <a:lnTo>
                      <a:pt x="66" y="132"/>
                    </a:lnTo>
                    <a:lnTo>
                      <a:pt x="72" y="132"/>
                    </a:lnTo>
                    <a:lnTo>
                      <a:pt x="72" y="126"/>
                    </a:lnTo>
                    <a:lnTo>
                      <a:pt x="72" y="132"/>
                    </a:lnTo>
                    <a:lnTo>
                      <a:pt x="66" y="132"/>
                    </a:lnTo>
                    <a:lnTo>
                      <a:pt x="66" y="126"/>
                    </a:lnTo>
                    <a:lnTo>
                      <a:pt x="66" y="132"/>
                    </a:lnTo>
                    <a:lnTo>
                      <a:pt x="66" y="126"/>
                    </a:lnTo>
                    <a:lnTo>
                      <a:pt x="60" y="126"/>
                    </a:lnTo>
                    <a:lnTo>
                      <a:pt x="60" y="120"/>
                    </a:lnTo>
                    <a:lnTo>
                      <a:pt x="54" y="120"/>
                    </a:lnTo>
                    <a:lnTo>
                      <a:pt x="48" y="114"/>
                    </a:lnTo>
                    <a:lnTo>
                      <a:pt x="42" y="114"/>
                    </a:lnTo>
                    <a:lnTo>
                      <a:pt x="36" y="114"/>
                    </a:lnTo>
                    <a:lnTo>
                      <a:pt x="30" y="108"/>
                    </a:lnTo>
                    <a:lnTo>
                      <a:pt x="36" y="108"/>
                    </a:lnTo>
                    <a:lnTo>
                      <a:pt x="36" y="102"/>
                    </a:lnTo>
                    <a:lnTo>
                      <a:pt x="36" y="108"/>
                    </a:lnTo>
                    <a:lnTo>
                      <a:pt x="30" y="108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18" y="96"/>
                    </a:lnTo>
                    <a:lnTo>
                      <a:pt x="12" y="96"/>
                    </a:lnTo>
                    <a:lnTo>
                      <a:pt x="6" y="90"/>
                    </a:lnTo>
                    <a:lnTo>
                      <a:pt x="0" y="90"/>
                    </a:lnTo>
                    <a:lnTo>
                      <a:pt x="6" y="84"/>
                    </a:lnTo>
                    <a:lnTo>
                      <a:pt x="0" y="84"/>
                    </a:lnTo>
                    <a:lnTo>
                      <a:pt x="6" y="84"/>
                    </a:lnTo>
                    <a:lnTo>
                      <a:pt x="0" y="84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7" name="Freeform 113"/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2201" y="1998"/>
                <a:ext cx="83" cy="203"/>
              </a:xfrm>
              <a:custGeom>
                <a:avLst/>
                <a:gdLst>
                  <a:gd name="T0" fmla="*/ 11 w 102"/>
                  <a:gd name="T1" fmla="*/ 2 h 252"/>
                  <a:gd name="T2" fmla="*/ 12 w 102"/>
                  <a:gd name="T3" fmla="*/ 3 h 252"/>
                  <a:gd name="T4" fmla="*/ 16 w 102"/>
                  <a:gd name="T5" fmla="*/ 5 h 252"/>
                  <a:gd name="T6" fmla="*/ 14 w 102"/>
                  <a:gd name="T7" fmla="*/ 8 h 252"/>
                  <a:gd name="T8" fmla="*/ 14 w 102"/>
                  <a:gd name="T9" fmla="*/ 12 h 252"/>
                  <a:gd name="T10" fmla="*/ 20 w 102"/>
                  <a:gd name="T11" fmla="*/ 15 h 252"/>
                  <a:gd name="T12" fmla="*/ 23 w 102"/>
                  <a:gd name="T13" fmla="*/ 20 h 252"/>
                  <a:gd name="T14" fmla="*/ 23 w 102"/>
                  <a:gd name="T15" fmla="*/ 23 h 252"/>
                  <a:gd name="T16" fmla="*/ 24 w 102"/>
                  <a:gd name="T17" fmla="*/ 26 h 252"/>
                  <a:gd name="T18" fmla="*/ 26 w 102"/>
                  <a:gd name="T19" fmla="*/ 29 h 252"/>
                  <a:gd name="T20" fmla="*/ 26 w 102"/>
                  <a:gd name="T21" fmla="*/ 33 h 252"/>
                  <a:gd name="T22" fmla="*/ 26 w 102"/>
                  <a:gd name="T23" fmla="*/ 35 h 252"/>
                  <a:gd name="T24" fmla="*/ 26 w 102"/>
                  <a:gd name="T25" fmla="*/ 39 h 252"/>
                  <a:gd name="T26" fmla="*/ 26 w 102"/>
                  <a:gd name="T27" fmla="*/ 46 h 252"/>
                  <a:gd name="T28" fmla="*/ 26 w 102"/>
                  <a:gd name="T29" fmla="*/ 49 h 252"/>
                  <a:gd name="T30" fmla="*/ 28 w 102"/>
                  <a:gd name="T31" fmla="*/ 51 h 252"/>
                  <a:gd name="T32" fmla="*/ 26 w 102"/>
                  <a:gd name="T33" fmla="*/ 52 h 252"/>
                  <a:gd name="T34" fmla="*/ 26 w 102"/>
                  <a:gd name="T35" fmla="*/ 59 h 252"/>
                  <a:gd name="T36" fmla="*/ 26 w 102"/>
                  <a:gd name="T37" fmla="*/ 62 h 252"/>
                  <a:gd name="T38" fmla="*/ 28 w 102"/>
                  <a:gd name="T39" fmla="*/ 64 h 252"/>
                  <a:gd name="T40" fmla="*/ 30 w 102"/>
                  <a:gd name="T41" fmla="*/ 65 h 252"/>
                  <a:gd name="T42" fmla="*/ 30 w 102"/>
                  <a:gd name="T43" fmla="*/ 68 h 252"/>
                  <a:gd name="T44" fmla="*/ 26 w 102"/>
                  <a:gd name="T45" fmla="*/ 68 h 252"/>
                  <a:gd name="T46" fmla="*/ 23 w 102"/>
                  <a:gd name="T47" fmla="*/ 68 h 252"/>
                  <a:gd name="T48" fmla="*/ 20 w 102"/>
                  <a:gd name="T49" fmla="*/ 68 h 252"/>
                  <a:gd name="T50" fmla="*/ 18 w 102"/>
                  <a:gd name="T51" fmla="*/ 68 h 252"/>
                  <a:gd name="T52" fmla="*/ 16 w 102"/>
                  <a:gd name="T53" fmla="*/ 65 h 252"/>
                  <a:gd name="T54" fmla="*/ 14 w 102"/>
                  <a:gd name="T55" fmla="*/ 64 h 252"/>
                  <a:gd name="T56" fmla="*/ 12 w 102"/>
                  <a:gd name="T57" fmla="*/ 62 h 252"/>
                  <a:gd name="T58" fmla="*/ 11 w 102"/>
                  <a:gd name="T59" fmla="*/ 60 h 252"/>
                  <a:gd name="T60" fmla="*/ 11 w 102"/>
                  <a:gd name="T61" fmla="*/ 58 h 252"/>
                  <a:gd name="T62" fmla="*/ 12 w 102"/>
                  <a:gd name="T63" fmla="*/ 55 h 252"/>
                  <a:gd name="T64" fmla="*/ 12 w 102"/>
                  <a:gd name="T65" fmla="*/ 51 h 252"/>
                  <a:gd name="T66" fmla="*/ 11 w 102"/>
                  <a:gd name="T67" fmla="*/ 49 h 252"/>
                  <a:gd name="T68" fmla="*/ 12 w 102"/>
                  <a:gd name="T69" fmla="*/ 48 h 252"/>
                  <a:gd name="T70" fmla="*/ 12 w 102"/>
                  <a:gd name="T71" fmla="*/ 44 h 252"/>
                  <a:gd name="T72" fmla="*/ 12 w 102"/>
                  <a:gd name="T73" fmla="*/ 41 h 252"/>
                  <a:gd name="T74" fmla="*/ 14 w 102"/>
                  <a:gd name="T75" fmla="*/ 39 h 252"/>
                  <a:gd name="T76" fmla="*/ 12 w 102"/>
                  <a:gd name="T77" fmla="*/ 38 h 252"/>
                  <a:gd name="T78" fmla="*/ 11 w 102"/>
                  <a:gd name="T79" fmla="*/ 35 h 252"/>
                  <a:gd name="T80" fmla="*/ 9 w 102"/>
                  <a:gd name="T81" fmla="*/ 35 h 252"/>
                  <a:gd name="T82" fmla="*/ 11 w 102"/>
                  <a:gd name="T83" fmla="*/ 33 h 252"/>
                  <a:gd name="T84" fmla="*/ 9 w 102"/>
                  <a:gd name="T85" fmla="*/ 29 h 252"/>
                  <a:gd name="T86" fmla="*/ 11 w 102"/>
                  <a:gd name="T87" fmla="*/ 28 h 252"/>
                  <a:gd name="T88" fmla="*/ 11 w 102"/>
                  <a:gd name="T89" fmla="*/ 25 h 252"/>
                  <a:gd name="T90" fmla="*/ 9 w 102"/>
                  <a:gd name="T91" fmla="*/ 23 h 252"/>
                  <a:gd name="T92" fmla="*/ 7 w 102"/>
                  <a:gd name="T93" fmla="*/ 25 h 252"/>
                  <a:gd name="T94" fmla="*/ 6 w 102"/>
                  <a:gd name="T95" fmla="*/ 23 h 252"/>
                  <a:gd name="T96" fmla="*/ 7 w 102"/>
                  <a:gd name="T97" fmla="*/ 22 h 252"/>
                  <a:gd name="T98" fmla="*/ 9 w 102"/>
                  <a:gd name="T99" fmla="*/ 20 h 252"/>
                  <a:gd name="T100" fmla="*/ 9 w 102"/>
                  <a:gd name="T101" fmla="*/ 19 h 252"/>
                  <a:gd name="T102" fmla="*/ 9 w 102"/>
                  <a:gd name="T103" fmla="*/ 19 h 252"/>
                  <a:gd name="T104" fmla="*/ 9 w 102"/>
                  <a:gd name="T105" fmla="*/ 15 h 252"/>
                  <a:gd name="T106" fmla="*/ 9 w 102"/>
                  <a:gd name="T107" fmla="*/ 12 h 252"/>
                  <a:gd name="T108" fmla="*/ 7 w 102"/>
                  <a:gd name="T109" fmla="*/ 10 h 252"/>
                  <a:gd name="T110" fmla="*/ 6 w 102"/>
                  <a:gd name="T111" fmla="*/ 8 h 252"/>
                  <a:gd name="T112" fmla="*/ 2 w 102"/>
                  <a:gd name="T113" fmla="*/ 8 h 252"/>
                  <a:gd name="T114" fmla="*/ 2 w 102"/>
                  <a:gd name="T115" fmla="*/ 5 h 252"/>
                  <a:gd name="T116" fmla="*/ 4 w 102"/>
                  <a:gd name="T117" fmla="*/ 2 h 252"/>
                  <a:gd name="T118" fmla="*/ 0 w 102"/>
                  <a:gd name="T119" fmla="*/ 2 h 25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02" h="252">
                    <a:moveTo>
                      <a:pt x="0" y="0"/>
                    </a:moveTo>
                    <a:lnTo>
                      <a:pt x="36" y="6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54" y="12"/>
                    </a:lnTo>
                    <a:lnTo>
                      <a:pt x="54" y="18"/>
                    </a:lnTo>
                    <a:lnTo>
                      <a:pt x="48" y="24"/>
                    </a:lnTo>
                    <a:lnTo>
                      <a:pt x="48" y="30"/>
                    </a:lnTo>
                    <a:lnTo>
                      <a:pt x="48" y="36"/>
                    </a:lnTo>
                    <a:lnTo>
                      <a:pt x="48" y="42"/>
                    </a:lnTo>
                    <a:lnTo>
                      <a:pt x="60" y="48"/>
                    </a:lnTo>
                    <a:lnTo>
                      <a:pt x="66" y="54"/>
                    </a:lnTo>
                    <a:lnTo>
                      <a:pt x="78" y="60"/>
                    </a:lnTo>
                    <a:lnTo>
                      <a:pt x="78" y="72"/>
                    </a:lnTo>
                    <a:lnTo>
                      <a:pt x="78" y="78"/>
                    </a:lnTo>
                    <a:lnTo>
                      <a:pt x="78" y="84"/>
                    </a:lnTo>
                    <a:lnTo>
                      <a:pt x="78" y="90"/>
                    </a:lnTo>
                    <a:lnTo>
                      <a:pt x="84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90" y="114"/>
                    </a:lnTo>
                    <a:lnTo>
                      <a:pt x="90" y="120"/>
                    </a:lnTo>
                    <a:lnTo>
                      <a:pt x="90" y="126"/>
                    </a:lnTo>
                    <a:lnTo>
                      <a:pt x="90" y="132"/>
                    </a:lnTo>
                    <a:lnTo>
                      <a:pt x="90" y="138"/>
                    </a:lnTo>
                    <a:lnTo>
                      <a:pt x="90" y="144"/>
                    </a:lnTo>
                    <a:lnTo>
                      <a:pt x="90" y="156"/>
                    </a:lnTo>
                    <a:lnTo>
                      <a:pt x="90" y="168"/>
                    </a:lnTo>
                    <a:lnTo>
                      <a:pt x="90" y="174"/>
                    </a:lnTo>
                    <a:lnTo>
                      <a:pt x="90" y="180"/>
                    </a:lnTo>
                    <a:lnTo>
                      <a:pt x="96" y="180"/>
                    </a:lnTo>
                    <a:lnTo>
                      <a:pt x="96" y="186"/>
                    </a:lnTo>
                    <a:lnTo>
                      <a:pt x="90" y="186"/>
                    </a:lnTo>
                    <a:lnTo>
                      <a:pt x="90" y="192"/>
                    </a:lnTo>
                    <a:lnTo>
                      <a:pt x="90" y="210"/>
                    </a:lnTo>
                    <a:lnTo>
                      <a:pt x="90" y="216"/>
                    </a:lnTo>
                    <a:lnTo>
                      <a:pt x="90" y="222"/>
                    </a:lnTo>
                    <a:lnTo>
                      <a:pt x="90" y="228"/>
                    </a:lnTo>
                    <a:lnTo>
                      <a:pt x="96" y="228"/>
                    </a:lnTo>
                    <a:lnTo>
                      <a:pt x="96" y="234"/>
                    </a:lnTo>
                    <a:lnTo>
                      <a:pt x="96" y="240"/>
                    </a:lnTo>
                    <a:lnTo>
                      <a:pt x="102" y="240"/>
                    </a:lnTo>
                    <a:lnTo>
                      <a:pt x="96" y="240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0" y="246"/>
                    </a:lnTo>
                    <a:lnTo>
                      <a:pt x="84" y="246"/>
                    </a:lnTo>
                    <a:lnTo>
                      <a:pt x="78" y="252"/>
                    </a:lnTo>
                    <a:lnTo>
                      <a:pt x="72" y="252"/>
                    </a:lnTo>
                    <a:lnTo>
                      <a:pt x="66" y="252"/>
                    </a:lnTo>
                    <a:lnTo>
                      <a:pt x="66" y="246"/>
                    </a:lnTo>
                    <a:lnTo>
                      <a:pt x="60" y="246"/>
                    </a:lnTo>
                    <a:lnTo>
                      <a:pt x="60" y="240"/>
                    </a:lnTo>
                    <a:lnTo>
                      <a:pt x="54" y="240"/>
                    </a:lnTo>
                    <a:lnTo>
                      <a:pt x="48" y="240"/>
                    </a:lnTo>
                    <a:lnTo>
                      <a:pt x="48" y="234"/>
                    </a:lnTo>
                    <a:lnTo>
                      <a:pt x="48" y="228"/>
                    </a:lnTo>
                    <a:lnTo>
                      <a:pt x="42" y="228"/>
                    </a:lnTo>
                    <a:lnTo>
                      <a:pt x="42" y="222"/>
                    </a:lnTo>
                    <a:lnTo>
                      <a:pt x="36" y="222"/>
                    </a:lnTo>
                    <a:lnTo>
                      <a:pt x="36" y="216"/>
                    </a:lnTo>
                    <a:lnTo>
                      <a:pt x="36" y="210"/>
                    </a:lnTo>
                    <a:lnTo>
                      <a:pt x="42" y="204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2" y="186"/>
                    </a:lnTo>
                    <a:lnTo>
                      <a:pt x="36" y="186"/>
                    </a:lnTo>
                    <a:lnTo>
                      <a:pt x="36" y="180"/>
                    </a:lnTo>
                    <a:lnTo>
                      <a:pt x="36" y="174"/>
                    </a:lnTo>
                    <a:lnTo>
                      <a:pt x="42" y="174"/>
                    </a:lnTo>
                    <a:lnTo>
                      <a:pt x="42" y="168"/>
                    </a:lnTo>
                    <a:lnTo>
                      <a:pt x="42" y="162"/>
                    </a:lnTo>
                    <a:lnTo>
                      <a:pt x="42" y="156"/>
                    </a:lnTo>
                    <a:lnTo>
                      <a:pt x="42" y="150"/>
                    </a:lnTo>
                    <a:lnTo>
                      <a:pt x="42" y="144"/>
                    </a:lnTo>
                    <a:lnTo>
                      <a:pt x="48" y="144"/>
                    </a:lnTo>
                    <a:lnTo>
                      <a:pt x="48" y="138"/>
                    </a:lnTo>
                    <a:lnTo>
                      <a:pt x="42" y="138"/>
                    </a:lnTo>
                    <a:lnTo>
                      <a:pt x="42" y="132"/>
                    </a:lnTo>
                    <a:lnTo>
                      <a:pt x="36" y="132"/>
                    </a:lnTo>
                    <a:lnTo>
                      <a:pt x="36" y="126"/>
                    </a:lnTo>
                    <a:lnTo>
                      <a:pt x="30" y="126"/>
                    </a:lnTo>
                    <a:lnTo>
                      <a:pt x="30" y="120"/>
                    </a:lnTo>
                    <a:lnTo>
                      <a:pt x="36" y="120"/>
                    </a:lnTo>
                    <a:lnTo>
                      <a:pt x="36" y="114"/>
                    </a:lnTo>
                    <a:lnTo>
                      <a:pt x="30" y="108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36" y="96"/>
                    </a:lnTo>
                    <a:lnTo>
                      <a:pt x="36" y="90"/>
                    </a:lnTo>
                    <a:lnTo>
                      <a:pt x="36" y="84"/>
                    </a:lnTo>
                    <a:lnTo>
                      <a:pt x="30" y="84"/>
                    </a:lnTo>
                    <a:lnTo>
                      <a:pt x="24" y="84"/>
                    </a:lnTo>
                    <a:lnTo>
                      <a:pt x="24" y="90"/>
                    </a:lnTo>
                    <a:lnTo>
                      <a:pt x="24" y="84"/>
                    </a:lnTo>
                    <a:lnTo>
                      <a:pt x="18" y="84"/>
                    </a:lnTo>
                    <a:lnTo>
                      <a:pt x="24" y="84"/>
                    </a:lnTo>
                    <a:lnTo>
                      <a:pt x="24" y="78"/>
                    </a:lnTo>
                    <a:lnTo>
                      <a:pt x="30" y="78"/>
                    </a:lnTo>
                    <a:lnTo>
                      <a:pt x="30" y="72"/>
                    </a:lnTo>
                    <a:lnTo>
                      <a:pt x="24" y="72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0" y="60"/>
                    </a:lnTo>
                    <a:lnTo>
                      <a:pt x="30" y="54"/>
                    </a:lnTo>
                    <a:lnTo>
                      <a:pt x="30" y="48"/>
                    </a:lnTo>
                    <a:lnTo>
                      <a:pt x="30" y="42"/>
                    </a:lnTo>
                    <a:lnTo>
                      <a:pt x="24" y="42"/>
                    </a:lnTo>
                    <a:lnTo>
                      <a:pt x="24" y="36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8" name="Freeform 114"/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2240" y="1949"/>
                <a:ext cx="125" cy="247"/>
              </a:xfrm>
              <a:custGeom>
                <a:avLst/>
                <a:gdLst>
                  <a:gd name="T0" fmla="*/ 3 w 156"/>
                  <a:gd name="T1" fmla="*/ 19 h 306"/>
                  <a:gd name="T2" fmla="*/ 3 w 156"/>
                  <a:gd name="T3" fmla="*/ 19 h 306"/>
                  <a:gd name="T4" fmla="*/ 5 w 156"/>
                  <a:gd name="T5" fmla="*/ 15 h 306"/>
                  <a:gd name="T6" fmla="*/ 8 w 156"/>
                  <a:gd name="T7" fmla="*/ 13 h 306"/>
                  <a:gd name="T8" fmla="*/ 12 w 156"/>
                  <a:gd name="T9" fmla="*/ 13 h 306"/>
                  <a:gd name="T10" fmla="*/ 19 w 156"/>
                  <a:gd name="T11" fmla="*/ 12 h 306"/>
                  <a:gd name="T12" fmla="*/ 21 w 156"/>
                  <a:gd name="T13" fmla="*/ 8 h 306"/>
                  <a:gd name="T14" fmla="*/ 21 w 156"/>
                  <a:gd name="T15" fmla="*/ 6 h 306"/>
                  <a:gd name="T16" fmla="*/ 22 w 156"/>
                  <a:gd name="T17" fmla="*/ 6 h 306"/>
                  <a:gd name="T18" fmla="*/ 21 w 156"/>
                  <a:gd name="T19" fmla="*/ 3 h 306"/>
                  <a:gd name="T20" fmla="*/ 24 w 156"/>
                  <a:gd name="T21" fmla="*/ 2 h 306"/>
                  <a:gd name="T22" fmla="*/ 27 w 156"/>
                  <a:gd name="T23" fmla="*/ 0 h 306"/>
                  <a:gd name="T24" fmla="*/ 30 w 156"/>
                  <a:gd name="T25" fmla="*/ 3 h 306"/>
                  <a:gd name="T26" fmla="*/ 34 w 156"/>
                  <a:gd name="T27" fmla="*/ 5 h 306"/>
                  <a:gd name="T28" fmla="*/ 37 w 156"/>
                  <a:gd name="T29" fmla="*/ 8 h 306"/>
                  <a:gd name="T30" fmla="*/ 37 w 156"/>
                  <a:gd name="T31" fmla="*/ 15 h 306"/>
                  <a:gd name="T32" fmla="*/ 40 w 156"/>
                  <a:gd name="T33" fmla="*/ 19 h 306"/>
                  <a:gd name="T34" fmla="*/ 40 w 156"/>
                  <a:gd name="T35" fmla="*/ 23 h 306"/>
                  <a:gd name="T36" fmla="*/ 40 w 156"/>
                  <a:gd name="T37" fmla="*/ 26 h 306"/>
                  <a:gd name="T38" fmla="*/ 37 w 156"/>
                  <a:gd name="T39" fmla="*/ 28 h 306"/>
                  <a:gd name="T40" fmla="*/ 38 w 156"/>
                  <a:gd name="T41" fmla="*/ 31 h 306"/>
                  <a:gd name="T42" fmla="*/ 37 w 156"/>
                  <a:gd name="T43" fmla="*/ 35 h 306"/>
                  <a:gd name="T44" fmla="*/ 34 w 156"/>
                  <a:gd name="T45" fmla="*/ 36 h 306"/>
                  <a:gd name="T46" fmla="*/ 32 w 156"/>
                  <a:gd name="T47" fmla="*/ 42 h 306"/>
                  <a:gd name="T48" fmla="*/ 30 w 156"/>
                  <a:gd name="T49" fmla="*/ 45 h 306"/>
                  <a:gd name="T50" fmla="*/ 27 w 156"/>
                  <a:gd name="T51" fmla="*/ 47 h 306"/>
                  <a:gd name="T52" fmla="*/ 27 w 156"/>
                  <a:gd name="T53" fmla="*/ 48 h 306"/>
                  <a:gd name="T54" fmla="*/ 27 w 156"/>
                  <a:gd name="T55" fmla="*/ 49 h 306"/>
                  <a:gd name="T56" fmla="*/ 26 w 156"/>
                  <a:gd name="T57" fmla="*/ 53 h 306"/>
                  <a:gd name="T58" fmla="*/ 26 w 156"/>
                  <a:gd name="T59" fmla="*/ 59 h 306"/>
                  <a:gd name="T60" fmla="*/ 26 w 156"/>
                  <a:gd name="T61" fmla="*/ 63 h 306"/>
                  <a:gd name="T62" fmla="*/ 27 w 156"/>
                  <a:gd name="T63" fmla="*/ 69 h 306"/>
                  <a:gd name="T64" fmla="*/ 27 w 156"/>
                  <a:gd name="T65" fmla="*/ 72 h 306"/>
                  <a:gd name="T66" fmla="*/ 27 w 156"/>
                  <a:gd name="T67" fmla="*/ 73 h 306"/>
                  <a:gd name="T68" fmla="*/ 26 w 156"/>
                  <a:gd name="T69" fmla="*/ 76 h 306"/>
                  <a:gd name="T70" fmla="*/ 26 w 156"/>
                  <a:gd name="T71" fmla="*/ 78 h 306"/>
                  <a:gd name="T72" fmla="*/ 26 w 156"/>
                  <a:gd name="T73" fmla="*/ 83 h 306"/>
                  <a:gd name="T74" fmla="*/ 19 w 156"/>
                  <a:gd name="T75" fmla="*/ 83 h 306"/>
                  <a:gd name="T76" fmla="*/ 14 w 156"/>
                  <a:gd name="T77" fmla="*/ 85 h 306"/>
                  <a:gd name="T78" fmla="*/ 12 w 156"/>
                  <a:gd name="T79" fmla="*/ 85 h 306"/>
                  <a:gd name="T80" fmla="*/ 14 w 156"/>
                  <a:gd name="T81" fmla="*/ 83 h 306"/>
                  <a:gd name="T82" fmla="*/ 12 w 156"/>
                  <a:gd name="T83" fmla="*/ 79 h 306"/>
                  <a:gd name="T84" fmla="*/ 11 w 156"/>
                  <a:gd name="T85" fmla="*/ 76 h 306"/>
                  <a:gd name="T86" fmla="*/ 11 w 156"/>
                  <a:gd name="T87" fmla="*/ 69 h 306"/>
                  <a:gd name="T88" fmla="*/ 11 w 156"/>
                  <a:gd name="T89" fmla="*/ 67 h 306"/>
                  <a:gd name="T90" fmla="*/ 11 w 156"/>
                  <a:gd name="T91" fmla="*/ 59 h 306"/>
                  <a:gd name="T92" fmla="*/ 11 w 156"/>
                  <a:gd name="T93" fmla="*/ 53 h 306"/>
                  <a:gd name="T94" fmla="*/ 11 w 156"/>
                  <a:gd name="T95" fmla="*/ 48 h 306"/>
                  <a:gd name="T96" fmla="*/ 9 w 156"/>
                  <a:gd name="T97" fmla="*/ 43 h 306"/>
                  <a:gd name="T98" fmla="*/ 8 w 156"/>
                  <a:gd name="T99" fmla="*/ 39 h 306"/>
                  <a:gd name="T100" fmla="*/ 5 w 156"/>
                  <a:gd name="T101" fmla="*/ 31 h 306"/>
                  <a:gd name="T102" fmla="*/ 0 w 156"/>
                  <a:gd name="T103" fmla="*/ 26 h 306"/>
                  <a:gd name="T104" fmla="*/ 2 w 156"/>
                  <a:gd name="T105" fmla="*/ 22 h 30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56" h="306">
                    <a:moveTo>
                      <a:pt x="6" y="72"/>
                    </a:moveTo>
                    <a:lnTo>
                      <a:pt x="6" y="66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12" y="60"/>
                    </a:lnTo>
                    <a:lnTo>
                      <a:pt x="12" y="66"/>
                    </a:lnTo>
                    <a:lnTo>
                      <a:pt x="12" y="60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48"/>
                    </a:lnTo>
                    <a:lnTo>
                      <a:pt x="36" y="48"/>
                    </a:lnTo>
                    <a:lnTo>
                      <a:pt x="42" y="48"/>
                    </a:lnTo>
                    <a:lnTo>
                      <a:pt x="48" y="48"/>
                    </a:lnTo>
                    <a:lnTo>
                      <a:pt x="54" y="48"/>
                    </a:lnTo>
                    <a:lnTo>
                      <a:pt x="60" y="48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84" y="18"/>
                    </a:lnTo>
                    <a:lnTo>
                      <a:pt x="84" y="12"/>
                    </a:lnTo>
                    <a:lnTo>
                      <a:pt x="78" y="12"/>
                    </a:lnTo>
                    <a:lnTo>
                      <a:pt x="78" y="6"/>
                    </a:lnTo>
                    <a:lnTo>
                      <a:pt x="84" y="6"/>
                    </a:lnTo>
                    <a:lnTo>
                      <a:pt x="90" y="6"/>
                    </a:lnTo>
                    <a:lnTo>
                      <a:pt x="96" y="6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26" y="18"/>
                    </a:lnTo>
                    <a:lnTo>
                      <a:pt x="126" y="24"/>
                    </a:lnTo>
                    <a:lnTo>
                      <a:pt x="132" y="24"/>
                    </a:lnTo>
                    <a:lnTo>
                      <a:pt x="138" y="30"/>
                    </a:lnTo>
                    <a:lnTo>
                      <a:pt x="138" y="36"/>
                    </a:lnTo>
                    <a:lnTo>
                      <a:pt x="138" y="42"/>
                    </a:lnTo>
                    <a:lnTo>
                      <a:pt x="138" y="54"/>
                    </a:lnTo>
                    <a:lnTo>
                      <a:pt x="144" y="60"/>
                    </a:lnTo>
                    <a:lnTo>
                      <a:pt x="144" y="66"/>
                    </a:lnTo>
                    <a:lnTo>
                      <a:pt x="150" y="66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50" y="84"/>
                    </a:lnTo>
                    <a:lnTo>
                      <a:pt x="156" y="90"/>
                    </a:lnTo>
                    <a:lnTo>
                      <a:pt x="150" y="90"/>
                    </a:lnTo>
                    <a:lnTo>
                      <a:pt x="150" y="96"/>
                    </a:lnTo>
                    <a:lnTo>
                      <a:pt x="144" y="96"/>
                    </a:lnTo>
                    <a:lnTo>
                      <a:pt x="144" y="102"/>
                    </a:lnTo>
                    <a:lnTo>
                      <a:pt x="138" y="102"/>
                    </a:lnTo>
                    <a:lnTo>
                      <a:pt x="138" y="108"/>
                    </a:lnTo>
                    <a:lnTo>
                      <a:pt x="144" y="108"/>
                    </a:lnTo>
                    <a:lnTo>
                      <a:pt x="144" y="114"/>
                    </a:lnTo>
                    <a:lnTo>
                      <a:pt x="144" y="120"/>
                    </a:lnTo>
                    <a:lnTo>
                      <a:pt x="138" y="120"/>
                    </a:lnTo>
                    <a:lnTo>
                      <a:pt x="138" y="126"/>
                    </a:lnTo>
                    <a:lnTo>
                      <a:pt x="132" y="126"/>
                    </a:lnTo>
                    <a:lnTo>
                      <a:pt x="126" y="126"/>
                    </a:lnTo>
                    <a:lnTo>
                      <a:pt x="126" y="132"/>
                    </a:lnTo>
                    <a:lnTo>
                      <a:pt x="126" y="138"/>
                    </a:lnTo>
                    <a:lnTo>
                      <a:pt x="120" y="144"/>
                    </a:lnTo>
                    <a:lnTo>
                      <a:pt x="120" y="150"/>
                    </a:lnTo>
                    <a:lnTo>
                      <a:pt x="120" y="156"/>
                    </a:lnTo>
                    <a:lnTo>
                      <a:pt x="114" y="156"/>
                    </a:lnTo>
                    <a:lnTo>
                      <a:pt x="114" y="162"/>
                    </a:lnTo>
                    <a:lnTo>
                      <a:pt x="108" y="162"/>
                    </a:lnTo>
                    <a:lnTo>
                      <a:pt x="102" y="162"/>
                    </a:lnTo>
                    <a:lnTo>
                      <a:pt x="102" y="168"/>
                    </a:lnTo>
                    <a:lnTo>
                      <a:pt x="102" y="174"/>
                    </a:lnTo>
                    <a:lnTo>
                      <a:pt x="96" y="174"/>
                    </a:lnTo>
                    <a:lnTo>
                      <a:pt x="102" y="174"/>
                    </a:lnTo>
                    <a:lnTo>
                      <a:pt x="96" y="174"/>
                    </a:lnTo>
                    <a:lnTo>
                      <a:pt x="96" y="180"/>
                    </a:lnTo>
                    <a:lnTo>
                      <a:pt x="102" y="180"/>
                    </a:lnTo>
                    <a:lnTo>
                      <a:pt x="96" y="180"/>
                    </a:lnTo>
                    <a:lnTo>
                      <a:pt x="96" y="186"/>
                    </a:lnTo>
                    <a:lnTo>
                      <a:pt x="96" y="192"/>
                    </a:lnTo>
                    <a:lnTo>
                      <a:pt x="96" y="198"/>
                    </a:lnTo>
                    <a:lnTo>
                      <a:pt x="96" y="204"/>
                    </a:lnTo>
                    <a:lnTo>
                      <a:pt x="96" y="210"/>
                    </a:lnTo>
                    <a:lnTo>
                      <a:pt x="96" y="216"/>
                    </a:lnTo>
                    <a:lnTo>
                      <a:pt x="96" y="222"/>
                    </a:lnTo>
                    <a:lnTo>
                      <a:pt x="96" y="228"/>
                    </a:lnTo>
                    <a:lnTo>
                      <a:pt x="96" y="234"/>
                    </a:lnTo>
                    <a:lnTo>
                      <a:pt x="96" y="240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6" y="252"/>
                    </a:lnTo>
                    <a:lnTo>
                      <a:pt x="102" y="258"/>
                    </a:lnTo>
                    <a:lnTo>
                      <a:pt x="102" y="264"/>
                    </a:lnTo>
                    <a:lnTo>
                      <a:pt x="96" y="264"/>
                    </a:lnTo>
                    <a:lnTo>
                      <a:pt x="102" y="264"/>
                    </a:lnTo>
                    <a:lnTo>
                      <a:pt x="96" y="264"/>
                    </a:lnTo>
                    <a:lnTo>
                      <a:pt x="96" y="270"/>
                    </a:lnTo>
                    <a:lnTo>
                      <a:pt x="96" y="276"/>
                    </a:lnTo>
                    <a:lnTo>
                      <a:pt x="96" y="282"/>
                    </a:lnTo>
                    <a:lnTo>
                      <a:pt x="102" y="282"/>
                    </a:lnTo>
                    <a:lnTo>
                      <a:pt x="96" y="282"/>
                    </a:lnTo>
                    <a:lnTo>
                      <a:pt x="96" y="288"/>
                    </a:lnTo>
                    <a:lnTo>
                      <a:pt x="96" y="294"/>
                    </a:lnTo>
                    <a:lnTo>
                      <a:pt x="96" y="300"/>
                    </a:lnTo>
                    <a:lnTo>
                      <a:pt x="84" y="300"/>
                    </a:lnTo>
                    <a:lnTo>
                      <a:pt x="78" y="300"/>
                    </a:lnTo>
                    <a:lnTo>
                      <a:pt x="72" y="300"/>
                    </a:lnTo>
                    <a:lnTo>
                      <a:pt x="66" y="300"/>
                    </a:lnTo>
                    <a:lnTo>
                      <a:pt x="60" y="306"/>
                    </a:lnTo>
                    <a:lnTo>
                      <a:pt x="54" y="306"/>
                    </a:lnTo>
                    <a:lnTo>
                      <a:pt x="48" y="306"/>
                    </a:lnTo>
                    <a:lnTo>
                      <a:pt x="42" y="306"/>
                    </a:lnTo>
                    <a:lnTo>
                      <a:pt x="48" y="306"/>
                    </a:lnTo>
                    <a:lnTo>
                      <a:pt x="54" y="306"/>
                    </a:lnTo>
                    <a:lnTo>
                      <a:pt x="48" y="300"/>
                    </a:lnTo>
                    <a:lnTo>
                      <a:pt x="54" y="300"/>
                    </a:lnTo>
                    <a:lnTo>
                      <a:pt x="48" y="300"/>
                    </a:lnTo>
                    <a:lnTo>
                      <a:pt x="48" y="294"/>
                    </a:lnTo>
                    <a:lnTo>
                      <a:pt x="48" y="288"/>
                    </a:lnTo>
                    <a:lnTo>
                      <a:pt x="42" y="288"/>
                    </a:lnTo>
                    <a:lnTo>
                      <a:pt x="42" y="282"/>
                    </a:lnTo>
                    <a:lnTo>
                      <a:pt x="42" y="276"/>
                    </a:lnTo>
                    <a:lnTo>
                      <a:pt x="42" y="270"/>
                    </a:lnTo>
                    <a:lnTo>
                      <a:pt x="42" y="252"/>
                    </a:lnTo>
                    <a:lnTo>
                      <a:pt x="42" y="246"/>
                    </a:lnTo>
                    <a:lnTo>
                      <a:pt x="48" y="246"/>
                    </a:lnTo>
                    <a:lnTo>
                      <a:pt x="48" y="240"/>
                    </a:lnTo>
                    <a:lnTo>
                      <a:pt x="42" y="240"/>
                    </a:lnTo>
                    <a:lnTo>
                      <a:pt x="42" y="234"/>
                    </a:lnTo>
                    <a:lnTo>
                      <a:pt x="42" y="228"/>
                    </a:lnTo>
                    <a:lnTo>
                      <a:pt x="42" y="216"/>
                    </a:lnTo>
                    <a:lnTo>
                      <a:pt x="42" y="204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2" y="186"/>
                    </a:lnTo>
                    <a:lnTo>
                      <a:pt x="42" y="180"/>
                    </a:lnTo>
                    <a:lnTo>
                      <a:pt x="42" y="174"/>
                    </a:lnTo>
                    <a:lnTo>
                      <a:pt x="42" y="168"/>
                    </a:lnTo>
                    <a:lnTo>
                      <a:pt x="42" y="162"/>
                    </a:lnTo>
                    <a:lnTo>
                      <a:pt x="36" y="156"/>
                    </a:lnTo>
                    <a:lnTo>
                      <a:pt x="30" y="150"/>
                    </a:lnTo>
                    <a:lnTo>
                      <a:pt x="30" y="144"/>
                    </a:lnTo>
                    <a:lnTo>
                      <a:pt x="30" y="138"/>
                    </a:lnTo>
                    <a:lnTo>
                      <a:pt x="30" y="132"/>
                    </a:lnTo>
                    <a:lnTo>
                      <a:pt x="30" y="120"/>
                    </a:lnTo>
                    <a:lnTo>
                      <a:pt x="18" y="114"/>
                    </a:lnTo>
                    <a:lnTo>
                      <a:pt x="12" y="108"/>
                    </a:lnTo>
                    <a:lnTo>
                      <a:pt x="0" y="102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4"/>
                    </a:lnTo>
                    <a:lnTo>
                      <a:pt x="6" y="78"/>
                    </a:lnTo>
                    <a:lnTo>
                      <a:pt x="6" y="72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29" name="Freeform 115"/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2317" y="1890"/>
                <a:ext cx="479" cy="383"/>
              </a:xfrm>
              <a:custGeom>
                <a:avLst/>
                <a:gdLst>
                  <a:gd name="T0" fmla="*/ 13 w 594"/>
                  <a:gd name="T1" fmla="*/ 19 h 474"/>
                  <a:gd name="T2" fmla="*/ 25 w 594"/>
                  <a:gd name="T3" fmla="*/ 2 h 474"/>
                  <a:gd name="T4" fmla="*/ 39 w 594"/>
                  <a:gd name="T5" fmla="*/ 0 h 474"/>
                  <a:gd name="T6" fmla="*/ 55 w 594"/>
                  <a:gd name="T7" fmla="*/ 6 h 474"/>
                  <a:gd name="T8" fmla="*/ 68 w 594"/>
                  <a:gd name="T9" fmla="*/ 8 h 474"/>
                  <a:gd name="T10" fmla="*/ 79 w 594"/>
                  <a:gd name="T11" fmla="*/ 10 h 474"/>
                  <a:gd name="T12" fmla="*/ 91 w 594"/>
                  <a:gd name="T13" fmla="*/ 14 h 474"/>
                  <a:gd name="T14" fmla="*/ 102 w 594"/>
                  <a:gd name="T15" fmla="*/ 8 h 474"/>
                  <a:gd name="T16" fmla="*/ 123 w 594"/>
                  <a:gd name="T17" fmla="*/ 6 h 474"/>
                  <a:gd name="T18" fmla="*/ 129 w 594"/>
                  <a:gd name="T19" fmla="*/ 10 h 474"/>
                  <a:gd name="T20" fmla="*/ 135 w 594"/>
                  <a:gd name="T21" fmla="*/ 8 h 474"/>
                  <a:gd name="T22" fmla="*/ 140 w 594"/>
                  <a:gd name="T23" fmla="*/ 5 h 474"/>
                  <a:gd name="T24" fmla="*/ 142 w 594"/>
                  <a:gd name="T25" fmla="*/ 5 h 474"/>
                  <a:gd name="T26" fmla="*/ 148 w 594"/>
                  <a:gd name="T27" fmla="*/ 2 h 474"/>
                  <a:gd name="T28" fmla="*/ 156 w 594"/>
                  <a:gd name="T29" fmla="*/ 20 h 474"/>
                  <a:gd name="T30" fmla="*/ 163 w 594"/>
                  <a:gd name="T31" fmla="*/ 27 h 474"/>
                  <a:gd name="T32" fmla="*/ 161 w 594"/>
                  <a:gd name="T33" fmla="*/ 33 h 474"/>
                  <a:gd name="T34" fmla="*/ 153 w 594"/>
                  <a:gd name="T35" fmla="*/ 36 h 474"/>
                  <a:gd name="T36" fmla="*/ 148 w 594"/>
                  <a:gd name="T37" fmla="*/ 45 h 474"/>
                  <a:gd name="T38" fmla="*/ 143 w 594"/>
                  <a:gd name="T39" fmla="*/ 53 h 474"/>
                  <a:gd name="T40" fmla="*/ 143 w 594"/>
                  <a:gd name="T41" fmla="*/ 59 h 474"/>
                  <a:gd name="T42" fmla="*/ 139 w 594"/>
                  <a:gd name="T43" fmla="*/ 65 h 474"/>
                  <a:gd name="T44" fmla="*/ 135 w 594"/>
                  <a:gd name="T45" fmla="*/ 72 h 474"/>
                  <a:gd name="T46" fmla="*/ 130 w 594"/>
                  <a:gd name="T47" fmla="*/ 80 h 474"/>
                  <a:gd name="T48" fmla="*/ 127 w 594"/>
                  <a:gd name="T49" fmla="*/ 89 h 474"/>
                  <a:gd name="T50" fmla="*/ 123 w 594"/>
                  <a:gd name="T51" fmla="*/ 94 h 474"/>
                  <a:gd name="T52" fmla="*/ 120 w 594"/>
                  <a:gd name="T53" fmla="*/ 99 h 474"/>
                  <a:gd name="T54" fmla="*/ 117 w 594"/>
                  <a:gd name="T55" fmla="*/ 100 h 474"/>
                  <a:gd name="T56" fmla="*/ 110 w 594"/>
                  <a:gd name="T57" fmla="*/ 95 h 474"/>
                  <a:gd name="T58" fmla="*/ 106 w 594"/>
                  <a:gd name="T59" fmla="*/ 95 h 474"/>
                  <a:gd name="T60" fmla="*/ 97 w 594"/>
                  <a:gd name="T61" fmla="*/ 99 h 474"/>
                  <a:gd name="T62" fmla="*/ 96 w 594"/>
                  <a:gd name="T63" fmla="*/ 102 h 474"/>
                  <a:gd name="T64" fmla="*/ 91 w 594"/>
                  <a:gd name="T65" fmla="*/ 105 h 474"/>
                  <a:gd name="T66" fmla="*/ 84 w 594"/>
                  <a:gd name="T67" fmla="*/ 112 h 474"/>
                  <a:gd name="T68" fmla="*/ 82 w 594"/>
                  <a:gd name="T69" fmla="*/ 122 h 474"/>
                  <a:gd name="T70" fmla="*/ 77 w 594"/>
                  <a:gd name="T71" fmla="*/ 125 h 474"/>
                  <a:gd name="T72" fmla="*/ 76 w 594"/>
                  <a:gd name="T73" fmla="*/ 128 h 474"/>
                  <a:gd name="T74" fmla="*/ 66 w 594"/>
                  <a:gd name="T75" fmla="*/ 130 h 474"/>
                  <a:gd name="T76" fmla="*/ 58 w 594"/>
                  <a:gd name="T77" fmla="*/ 130 h 474"/>
                  <a:gd name="T78" fmla="*/ 52 w 594"/>
                  <a:gd name="T79" fmla="*/ 132 h 474"/>
                  <a:gd name="T80" fmla="*/ 42 w 594"/>
                  <a:gd name="T81" fmla="*/ 128 h 474"/>
                  <a:gd name="T82" fmla="*/ 36 w 594"/>
                  <a:gd name="T83" fmla="*/ 119 h 474"/>
                  <a:gd name="T84" fmla="*/ 33 w 594"/>
                  <a:gd name="T85" fmla="*/ 112 h 474"/>
                  <a:gd name="T86" fmla="*/ 22 w 594"/>
                  <a:gd name="T87" fmla="*/ 103 h 474"/>
                  <a:gd name="T88" fmla="*/ 10 w 594"/>
                  <a:gd name="T89" fmla="*/ 103 h 474"/>
                  <a:gd name="T90" fmla="*/ 0 w 594"/>
                  <a:gd name="T91" fmla="*/ 100 h 474"/>
                  <a:gd name="T92" fmla="*/ 2 w 594"/>
                  <a:gd name="T93" fmla="*/ 94 h 474"/>
                  <a:gd name="T94" fmla="*/ 0 w 594"/>
                  <a:gd name="T95" fmla="*/ 86 h 474"/>
                  <a:gd name="T96" fmla="*/ 0 w 594"/>
                  <a:gd name="T97" fmla="*/ 75 h 474"/>
                  <a:gd name="T98" fmla="*/ 2 w 594"/>
                  <a:gd name="T99" fmla="*/ 69 h 474"/>
                  <a:gd name="T100" fmla="*/ 5 w 594"/>
                  <a:gd name="T101" fmla="*/ 63 h 474"/>
                  <a:gd name="T102" fmla="*/ 10 w 594"/>
                  <a:gd name="T103" fmla="*/ 55 h 474"/>
                  <a:gd name="T104" fmla="*/ 12 w 594"/>
                  <a:gd name="T105" fmla="*/ 48 h 474"/>
                  <a:gd name="T106" fmla="*/ 15 w 594"/>
                  <a:gd name="T107" fmla="*/ 42 h 474"/>
                  <a:gd name="T108" fmla="*/ 12 w 594"/>
                  <a:gd name="T109" fmla="*/ 30 h 47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594" h="474">
                    <a:moveTo>
                      <a:pt x="42" y="108"/>
                    </a:moveTo>
                    <a:lnTo>
                      <a:pt x="48" y="102"/>
                    </a:lnTo>
                    <a:lnTo>
                      <a:pt x="48" y="96"/>
                    </a:lnTo>
                    <a:lnTo>
                      <a:pt x="48" y="90"/>
                    </a:lnTo>
                    <a:lnTo>
                      <a:pt x="48" y="84"/>
                    </a:lnTo>
                    <a:lnTo>
                      <a:pt x="48" y="78"/>
                    </a:lnTo>
                    <a:lnTo>
                      <a:pt x="48" y="66"/>
                    </a:lnTo>
                    <a:lnTo>
                      <a:pt x="54" y="60"/>
                    </a:lnTo>
                    <a:lnTo>
                      <a:pt x="60" y="54"/>
                    </a:lnTo>
                    <a:lnTo>
                      <a:pt x="66" y="48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18"/>
                    </a:lnTo>
                    <a:lnTo>
                      <a:pt x="90" y="6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20" y="6"/>
                    </a:lnTo>
                    <a:lnTo>
                      <a:pt x="126" y="6"/>
                    </a:lnTo>
                    <a:lnTo>
                      <a:pt x="132" y="0"/>
                    </a:lnTo>
                    <a:lnTo>
                      <a:pt x="138" y="0"/>
                    </a:lnTo>
                    <a:lnTo>
                      <a:pt x="150" y="0"/>
                    </a:lnTo>
                    <a:lnTo>
                      <a:pt x="168" y="6"/>
                    </a:lnTo>
                    <a:lnTo>
                      <a:pt x="174" y="12"/>
                    </a:lnTo>
                    <a:lnTo>
                      <a:pt x="174" y="6"/>
                    </a:lnTo>
                    <a:lnTo>
                      <a:pt x="180" y="6"/>
                    </a:lnTo>
                    <a:lnTo>
                      <a:pt x="186" y="12"/>
                    </a:lnTo>
                    <a:lnTo>
                      <a:pt x="198" y="24"/>
                    </a:lnTo>
                    <a:lnTo>
                      <a:pt x="204" y="36"/>
                    </a:lnTo>
                    <a:lnTo>
                      <a:pt x="210" y="42"/>
                    </a:lnTo>
                    <a:lnTo>
                      <a:pt x="216" y="42"/>
                    </a:lnTo>
                    <a:lnTo>
                      <a:pt x="222" y="42"/>
                    </a:lnTo>
                    <a:lnTo>
                      <a:pt x="222" y="36"/>
                    </a:lnTo>
                    <a:lnTo>
                      <a:pt x="234" y="36"/>
                    </a:lnTo>
                    <a:lnTo>
                      <a:pt x="246" y="30"/>
                    </a:lnTo>
                    <a:lnTo>
                      <a:pt x="252" y="24"/>
                    </a:lnTo>
                    <a:lnTo>
                      <a:pt x="264" y="24"/>
                    </a:lnTo>
                    <a:lnTo>
                      <a:pt x="270" y="30"/>
                    </a:lnTo>
                    <a:lnTo>
                      <a:pt x="276" y="30"/>
                    </a:lnTo>
                    <a:lnTo>
                      <a:pt x="276" y="36"/>
                    </a:lnTo>
                    <a:lnTo>
                      <a:pt x="282" y="36"/>
                    </a:lnTo>
                    <a:lnTo>
                      <a:pt x="288" y="36"/>
                    </a:lnTo>
                    <a:lnTo>
                      <a:pt x="294" y="42"/>
                    </a:lnTo>
                    <a:lnTo>
                      <a:pt x="300" y="48"/>
                    </a:lnTo>
                    <a:lnTo>
                      <a:pt x="306" y="48"/>
                    </a:lnTo>
                    <a:lnTo>
                      <a:pt x="312" y="48"/>
                    </a:lnTo>
                    <a:lnTo>
                      <a:pt x="318" y="48"/>
                    </a:lnTo>
                    <a:lnTo>
                      <a:pt x="324" y="48"/>
                    </a:lnTo>
                    <a:lnTo>
                      <a:pt x="330" y="48"/>
                    </a:lnTo>
                    <a:lnTo>
                      <a:pt x="336" y="48"/>
                    </a:lnTo>
                    <a:lnTo>
                      <a:pt x="348" y="54"/>
                    </a:lnTo>
                    <a:lnTo>
                      <a:pt x="348" y="48"/>
                    </a:lnTo>
                    <a:lnTo>
                      <a:pt x="354" y="42"/>
                    </a:lnTo>
                    <a:lnTo>
                      <a:pt x="360" y="36"/>
                    </a:lnTo>
                    <a:lnTo>
                      <a:pt x="366" y="30"/>
                    </a:lnTo>
                    <a:lnTo>
                      <a:pt x="372" y="30"/>
                    </a:lnTo>
                    <a:lnTo>
                      <a:pt x="384" y="30"/>
                    </a:lnTo>
                    <a:lnTo>
                      <a:pt x="396" y="24"/>
                    </a:lnTo>
                    <a:lnTo>
                      <a:pt x="414" y="24"/>
                    </a:lnTo>
                    <a:lnTo>
                      <a:pt x="420" y="24"/>
                    </a:lnTo>
                    <a:lnTo>
                      <a:pt x="432" y="24"/>
                    </a:lnTo>
                    <a:lnTo>
                      <a:pt x="438" y="24"/>
                    </a:lnTo>
                    <a:lnTo>
                      <a:pt x="444" y="24"/>
                    </a:lnTo>
                    <a:lnTo>
                      <a:pt x="444" y="30"/>
                    </a:lnTo>
                    <a:lnTo>
                      <a:pt x="456" y="30"/>
                    </a:lnTo>
                    <a:lnTo>
                      <a:pt x="462" y="30"/>
                    </a:lnTo>
                    <a:lnTo>
                      <a:pt x="462" y="36"/>
                    </a:lnTo>
                    <a:lnTo>
                      <a:pt x="468" y="36"/>
                    </a:lnTo>
                    <a:lnTo>
                      <a:pt x="474" y="36"/>
                    </a:lnTo>
                    <a:lnTo>
                      <a:pt x="468" y="36"/>
                    </a:lnTo>
                    <a:lnTo>
                      <a:pt x="474" y="36"/>
                    </a:lnTo>
                    <a:lnTo>
                      <a:pt x="480" y="36"/>
                    </a:lnTo>
                    <a:lnTo>
                      <a:pt x="486" y="36"/>
                    </a:lnTo>
                    <a:lnTo>
                      <a:pt x="492" y="36"/>
                    </a:lnTo>
                    <a:lnTo>
                      <a:pt x="492" y="30"/>
                    </a:lnTo>
                    <a:lnTo>
                      <a:pt x="486" y="30"/>
                    </a:lnTo>
                    <a:lnTo>
                      <a:pt x="492" y="30"/>
                    </a:lnTo>
                    <a:lnTo>
                      <a:pt x="492" y="24"/>
                    </a:lnTo>
                    <a:lnTo>
                      <a:pt x="492" y="30"/>
                    </a:lnTo>
                    <a:lnTo>
                      <a:pt x="498" y="30"/>
                    </a:lnTo>
                    <a:lnTo>
                      <a:pt x="498" y="24"/>
                    </a:lnTo>
                    <a:lnTo>
                      <a:pt x="504" y="24"/>
                    </a:lnTo>
                    <a:lnTo>
                      <a:pt x="504" y="18"/>
                    </a:lnTo>
                    <a:lnTo>
                      <a:pt x="510" y="18"/>
                    </a:lnTo>
                    <a:lnTo>
                      <a:pt x="516" y="18"/>
                    </a:lnTo>
                    <a:lnTo>
                      <a:pt x="516" y="12"/>
                    </a:lnTo>
                    <a:lnTo>
                      <a:pt x="516" y="18"/>
                    </a:lnTo>
                    <a:lnTo>
                      <a:pt x="516" y="12"/>
                    </a:lnTo>
                    <a:lnTo>
                      <a:pt x="516" y="18"/>
                    </a:lnTo>
                    <a:lnTo>
                      <a:pt x="516" y="12"/>
                    </a:lnTo>
                    <a:lnTo>
                      <a:pt x="516" y="18"/>
                    </a:lnTo>
                    <a:lnTo>
                      <a:pt x="522" y="18"/>
                    </a:lnTo>
                    <a:lnTo>
                      <a:pt x="522" y="12"/>
                    </a:lnTo>
                    <a:lnTo>
                      <a:pt x="528" y="12"/>
                    </a:lnTo>
                    <a:lnTo>
                      <a:pt x="522" y="12"/>
                    </a:lnTo>
                    <a:lnTo>
                      <a:pt x="528" y="12"/>
                    </a:lnTo>
                    <a:lnTo>
                      <a:pt x="528" y="6"/>
                    </a:lnTo>
                    <a:lnTo>
                      <a:pt x="534" y="6"/>
                    </a:lnTo>
                    <a:lnTo>
                      <a:pt x="540" y="6"/>
                    </a:lnTo>
                    <a:lnTo>
                      <a:pt x="546" y="6"/>
                    </a:lnTo>
                    <a:lnTo>
                      <a:pt x="546" y="12"/>
                    </a:lnTo>
                    <a:lnTo>
                      <a:pt x="558" y="24"/>
                    </a:lnTo>
                    <a:lnTo>
                      <a:pt x="564" y="36"/>
                    </a:lnTo>
                    <a:lnTo>
                      <a:pt x="570" y="66"/>
                    </a:lnTo>
                    <a:lnTo>
                      <a:pt x="570" y="72"/>
                    </a:lnTo>
                    <a:lnTo>
                      <a:pt x="576" y="72"/>
                    </a:lnTo>
                    <a:lnTo>
                      <a:pt x="582" y="72"/>
                    </a:lnTo>
                    <a:lnTo>
                      <a:pt x="588" y="72"/>
                    </a:lnTo>
                    <a:lnTo>
                      <a:pt x="588" y="78"/>
                    </a:lnTo>
                    <a:lnTo>
                      <a:pt x="594" y="84"/>
                    </a:lnTo>
                    <a:lnTo>
                      <a:pt x="594" y="90"/>
                    </a:lnTo>
                    <a:lnTo>
                      <a:pt x="594" y="96"/>
                    </a:lnTo>
                    <a:lnTo>
                      <a:pt x="594" y="102"/>
                    </a:lnTo>
                    <a:lnTo>
                      <a:pt x="588" y="102"/>
                    </a:lnTo>
                    <a:lnTo>
                      <a:pt x="588" y="108"/>
                    </a:lnTo>
                    <a:lnTo>
                      <a:pt x="594" y="108"/>
                    </a:lnTo>
                    <a:lnTo>
                      <a:pt x="594" y="114"/>
                    </a:lnTo>
                    <a:lnTo>
                      <a:pt x="588" y="114"/>
                    </a:lnTo>
                    <a:lnTo>
                      <a:pt x="588" y="120"/>
                    </a:lnTo>
                    <a:lnTo>
                      <a:pt x="582" y="120"/>
                    </a:lnTo>
                    <a:lnTo>
                      <a:pt x="576" y="120"/>
                    </a:lnTo>
                    <a:lnTo>
                      <a:pt x="576" y="126"/>
                    </a:lnTo>
                    <a:lnTo>
                      <a:pt x="570" y="126"/>
                    </a:lnTo>
                    <a:lnTo>
                      <a:pt x="564" y="126"/>
                    </a:lnTo>
                    <a:lnTo>
                      <a:pt x="558" y="126"/>
                    </a:lnTo>
                    <a:lnTo>
                      <a:pt x="558" y="132"/>
                    </a:lnTo>
                    <a:lnTo>
                      <a:pt x="552" y="132"/>
                    </a:lnTo>
                    <a:lnTo>
                      <a:pt x="552" y="138"/>
                    </a:lnTo>
                    <a:lnTo>
                      <a:pt x="546" y="144"/>
                    </a:lnTo>
                    <a:lnTo>
                      <a:pt x="546" y="150"/>
                    </a:lnTo>
                    <a:lnTo>
                      <a:pt x="540" y="150"/>
                    </a:lnTo>
                    <a:lnTo>
                      <a:pt x="540" y="156"/>
                    </a:lnTo>
                    <a:lnTo>
                      <a:pt x="540" y="162"/>
                    </a:lnTo>
                    <a:lnTo>
                      <a:pt x="540" y="168"/>
                    </a:lnTo>
                    <a:lnTo>
                      <a:pt x="540" y="174"/>
                    </a:lnTo>
                    <a:lnTo>
                      <a:pt x="534" y="174"/>
                    </a:lnTo>
                    <a:lnTo>
                      <a:pt x="534" y="180"/>
                    </a:lnTo>
                    <a:lnTo>
                      <a:pt x="534" y="186"/>
                    </a:lnTo>
                    <a:lnTo>
                      <a:pt x="528" y="186"/>
                    </a:lnTo>
                    <a:lnTo>
                      <a:pt x="522" y="192"/>
                    </a:lnTo>
                    <a:lnTo>
                      <a:pt x="528" y="192"/>
                    </a:lnTo>
                    <a:lnTo>
                      <a:pt x="522" y="192"/>
                    </a:lnTo>
                    <a:lnTo>
                      <a:pt x="522" y="198"/>
                    </a:lnTo>
                    <a:lnTo>
                      <a:pt x="528" y="198"/>
                    </a:lnTo>
                    <a:lnTo>
                      <a:pt x="528" y="204"/>
                    </a:lnTo>
                    <a:lnTo>
                      <a:pt x="522" y="204"/>
                    </a:lnTo>
                    <a:lnTo>
                      <a:pt x="522" y="210"/>
                    </a:lnTo>
                    <a:lnTo>
                      <a:pt x="522" y="216"/>
                    </a:lnTo>
                    <a:lnTo>
                      <a:pt x="516" y="216"/>
                    </a:lnTo>
                    <a:lnTo>
                      <a:pt x="510" y="216"/>
                    </a:lnTo>
                    <a:lnTo>
                      <a:pt x="510" y="222"/>
                    </a:lnTo>
                    <a:lnTo>
                      <a:pt x="504" y="222"/>
                    </a:lnTo>
                    <a:lnTo>
                      <a:pt x="504" y="228"/>
                    </a:lnTo>
                    <a:lnTo>
                      <a:pt x="504" y="234"/>
                    </a:lnTo>
                    <a:lnTo>
                      <a:pt x="504" y="240"/>
                    </a:lnTo>
                    <a:lnTo>
                      <a:pt x="504" y="246"/>
                    </a:lnTo>
                    <a:lnTo>
                      <a:pt x="498" y="246"/>
                    </a:lnTo>
                    <a:lnTo>
                      <a:pt x="504" y="252"/>
                    </a:lnTo>
                    <a:lnTo>
                      <a:pt x="498" y="252"/>
                    </a:lnTo>
                    <a:lnTo>
                      <a:pt x="498" y="258"/>
                    </a:lnTo>
                    <a:lnTo>
                      <a:pt x="492" y="258"/>
                    </a:lnTo>
                    <a:lnTo>
                      <a:pt x="486" y="258"/>
                    </a:lnTo>
                    <a:lnTo>
                      <a:pt x="486" y="264"/>
                    </a:lnTo>
                    <a:lnTo>
                      <a:pt x="480" y="264"/>
                    </a:lnTo>
                    <a:lnTo>
                      <a:pt x="474" y="270"/>
                    </a:lnTo>
                    <a:lnTo>
                      <a:pt x="474" y="276"/>
                    </a:lnTo>
                    <a:lnTo>
                      <a:pt x="474" y="282"/>
                    </a:lnTo>
                    <a:lnTo>
                      <a:pt x="474" y="288"/>
                    </a:lnTo>
                    <a:lnTo>
                      <a:pt x="474" y="294"/>
                    </a:lnTo>
                    <a:lnTo>
                      <a:pt x="468" y="294"/>
                    </a:lnTo>
                    <a:lnTo>
                      <a:pt x="468" y="300"/>
                    </a:lnTo>
                    <a:lnTo>
                      <a:pt x="462" y="300"/>
                    </a:lnTo>
                    <a:lnTo>
                      <a:pt x="462" y="306"/>
                    </a:lnTo>
                    <a:lnTo>
                      <a:pt x="462" y="312"/>
                    </a:lnTo>
                    <a:lnTo>
                      <a:pt x="462" y="318"/>
                    </a:lnTo>
                    <a:lnTo>
                      <a:pt x="456" y="318"/>
                    </a:lnTo>
                    <a:lnTo>
                      <a:pt x="456" y="324"/>
                    </a:lnTo>
                    <a:lnTo>
                      <a:pt x="450" y="324"/>
                    </a:lnTo>
                    <a:lnTo>
                      <a:pt x="450" y="330"/>
                    </a:lnTo>
                    <a:lnTo>
                      <a:pt x="456" y="336"/>
                    </a:lnTo>
                    <a:lnTo>
                      <a:pt x="450" y="336"/>
                    </a:lnTo>
                    <a:lnTo>
                      <a:pt x="444" y="336"/>
                    </a:lnTo>
                    <a:lnTo>
                      <a:pt x="444" y="342"/>
                    </a:lnTo>
                    <a:lnTo>
                      <a:pt x="438" y="342"/>
                    </a:lnTo>
                    <a:lnTo>
                      <a:pt x="438" y="348"/>
                    </a:lnTo>
                    <a:lnTo>
                      <a:pt x="444" y="348"/>
                    </a:lnTo>
                    <a:lnTo>
                      <a:pt x="438" y="348"/>
                    </a:lnTo>
                    <a:lnTo>
                      <a:pt x="444" y="354"/>
                    </a:lnTo>
                    <a:lnTo>
                      <a:pt x="438" y="354"/>
                    </a:lnTo>
                    <a:lnTo>
                      <a:pt x="438" y="360"/>
                    </a:lnTo>
                    <a:lnTo>
                      <a:pt x="432" y="360"/>
                    </a:lnTo>
                    <a:lnTo>
                      <a:pt x="432" y="366"/>
                    </a:lnTo>
                    <a:lnTo>
                      <a:pt x="426" y="366"/>
                    </a:lnTo>
                    <a:lnTo>
                      <a:pt x="426" y="360"/>
                    </a:lnTo>
                    <a:lnTo>
                      <a:pt x="426" y="366"/>
                    </a:lnTo>
                    <a:lnTo>
                      <a:pt x="426" y="360"/>
                    </a:lnTo>
                    <a:lnTo>
                      <a:pt x="420" y="360"/>
                    </a:lnTo>
                    <a:lnTo>
                      <a:pt x="420" y="354"/>
                    </a:lnTo>
                    <a:lnTo>
                      <a:pt x="414" y="354"/>
                    </a:lnTo>
                    <a:lnTo>
                      <a:pt x="408" y="354"/>
                    </a:lnTo>
                    <a:lnTo>
                      <a:pt x="408" y="348"/>
                    </a:lnTo>
                    <a:lnTo>
                      <a:pt x="402" y="348"/>
                    </a:lnTo>
                    <a:lnTo>
                      <a:pt x="402" y="342"/>
                    </a:lnTo>
                    <a:lnTo>
                      <a:pt x="396" y="342"/>
                    </a:lnTo>
                    <a:lnTo>
                      <a:pt x="396" y="336"/>
                    </a:lnTo>
                    <a:lnTo>
                      <a:pt x="390" y="336"/>
                    </a:lnTo>
                    <a:lnTo>
                      <a:pt x="390" y="330"/>
                    </a:lnTo>
                    <a:lnTo>
                      <a:pt x="390" y="336"/>
                    </a:lnTo>
                    <a:lnTo>
                      <a:pt x="390" y="342"/>
                    </a:lnTo>
                    <a:lnTo>
                      <a:pt x="384" y="342"/>
                    </a:lnTo>
                    <a:lnTo>
                      <a:pt x="372" y="348"/>
                    </a:lnTo>
                    <a:lnTo>
                      <a:pt x="372" y="342"/>
                    </a:lnTo>
                    <a:lnTo>
                      <a:pt x="372" y="336"/>
                    </a:lnTo>
                    <a:lnTo>
                      <a:pt x="366" y="342"/>
                    </a:lnTo>
                    <a:lnTo>
                      <a:pt x="360" y="342"/>
                    </a:lnTo>
                    <a:lnTo>
                      <a:pt x="360" y="348"/>
                    </a:lnTo>
                    <a:lnTo>
                      <a:pt x="354" y="354"/>
                    </a:lnTo>
                    <a:lnTo>
                      <a:pt x="354" y="348"/>
                    </a:lnTo>
                    <a:lnTo>
                      <a:pt x="354" y="354"/>
                    </a:lnTo>
                    <a:lnTo>
                      <a:pt x="348" y="354"/>
                    </a:lnTo>
                    <a:lnTo>
                      <a:pt x="348" y="360"/>
                    </a:lnTo>
                    <a:lnTo>
                      <a:pt x="348" y="366"/>
                    </a:lnTo>
                    <a:lnTo>
                      <a:pt x="348" y="360"/>
                    </a:lnTo>
                    <a:lnTo>
                      <a:pt x="348" y="366"/>
                    </a:lnTo>
                    <a:lnTo>
                      <a:pt x="342" y="366"/>
                    </a:lnTo>
                    <a:lnTo>
                      <a:pt x="342" y="360"/>
                    </a:lnTo>
                    <a:lnTo>
                      <a:pt x="342" y="366"/>
                    </a:lnTo>
                    <a:lnTo>
                      <a:pt x="336" y="366"/>
                    </a:lnTo>
                    <a:lnTo>
                      <a:pt x="336" y="372"/>
                    </a:lnTo>
                    <a:lnTo>
                      <a:pt x="330" y="372"/>
                    </a:lnTo>
                    <a:lnTo>
                      <a:pt x="330" y="378"/>
                    </a:lnTo>
                    <a:lnTo>
                      <a:pt x="324" y="378"/>
                    </a:lnTo>
                    <a:lnTo>
                      <a:pt x="324" y="384"/>
                    </a:lnTo>
                    <a:lnTo>
                      <a:pt x="318" y="384"/>
                    </a:lnTo>
                    <a:lnTo>
                      <a:pt x="312" y="390"/>
                    </a:lnTo>
                    <a:lnTo>
                      <a:pt x="312" y="396"/>
                    </a:lnTo>
                    <a:lnTo>
                      <a:pt x="306" y="396"/>
                    </a:lnTo>
                    <a:lnTo>
                      <a:pt x="306" y="402"/>
                    </a:lnTo>
                    <a:lnTo>
                      <a:pt x="306" y="408"/>
                    </a:lnTo>
                    <a:lnTo>
                      <a:pt x="306" y="414"/>
                    </a:lnTo>
                    <a:lnTo>
                      <a:pt x="306" y="420"/>
                    </a:lnTo>
                    <a:lnTo>
                      <a:pt x="306" y="426"/>
                    </a:lnTo>
                    <a:lnTo>
                      <a:pt x="306" y="432"/>
                    </a:lnTo>
                    <a:lnTo>
                      <a:pt x="300" y="432"/>
                    </a:lnTo>
                    <a:lnTo>
                      <a:pt x="300" y="438"/>
                    </a:lnTo>
                    <a:lnTo>
                      <a:pt x="294" y="438"/>
                    </a:lnTo>
                    <a:lnTo>
                      <a:pt x="294" y="444"/>
                    </a:lnTo>
                    <a:lnTo>
                      <a:pt x="294" y="450"/>
                    </a:lnTo>
                    <a:lnTo>
                      <a:pt x="288" y="450"/>
                    </a:lnTo>
                    <a:lnTo>
                      <a:pt x="288" y="456"/>
                    </a:lnTo>
                    <a:lnTo>
                      <a:pt x="288" y="450"/>
                    </a:lnTo>
                    <a:lnTo>
                      <a:pt x="282" y="450"/>
                    </a:lnTo>
                    <a:lnTo>
                      <a:pt x="276" y="444"/>
                    </a:lnTo>
                    <a:lnTo>
                      <a:pt x="276" y="450"/>
                    </a:lnTo>
                    <a:lnTo>
                      <a:pt x="282" y="456"/>
                    </a:lnTo>
                    <a:lnTo>
                      <a:pt x="276" y="456"/>
                    </a:lnTo>
                    <a:lnTo>
                      <a:pt x="282" y="456"/>
                    </a:lnTo>
                    <a:lnTo>
                      <a:pt x="276" y="456"/>
                    </a:lnTo>
                    <a:lnTo>
                      <a:pt x="276" y="462"/>
                    </a:lnTo>
                    <a:lnTo>
                      <a:pt x="270" y="462"/>
                    </a:lnTo>
                    <a:lnTo>
                      <a:pt x="264" y="462"/>
                    </a:lnTo>
                    <a:lnTo>
                      <a:pt x="258" y="462"/>
                    </a:lnTo>
                    <a:lnTo>
                      <a:pt x="252" y="462"/>
                    </a:lnTo>
                    <a:lnTo>
                      <a:pt x="246" y="462"/>
                    </a:lnTo>
                    <a:lnTo>
                      <a:pt x="240" y="462"/>
                    </a:lnTo>
                    <a:lnTo>
                      <a:pt x="240" y="468"/>
                    </a:lnTo>
                    <a:lnTo>
                      <a:pt x="234" y="468"/>
                    </a:lnTo>
                    <a:lnTo>
                      <a:pt x="228" y="468"/>
                    </a:lnTo>
                    <a:lnTo>
                      <a:pt x="222" y="468"/>
                    </a:lnTo>
                    <a:lnTo>
                      <a:pt x="222" y="462"/>
                    </a:lnTo>
                    <a:lnTo>
                      <a:pt x="222" y="468"/>
                    </a:lnTo>
                    <a:lnTo>
                      <a:pt x="216" y="468"/>
                    </a:lnTo>
                    <a:lnTo>
                      <a:pt x="210" y="468"/>
                    </a:lnTo>
                    <a:lnTo>
                      <a:pt x="216" y="468"/>
                    </a:lnTo>
                    <a:lnTo>
                      <a:pt x="210" y="468"/>
                    </a:lnTo>
                    <a:lnTo>
                      <a:pt x="204" y="468"/>
                    </a:lnTo>
                    <a:lnTo>
                      <a:pt x="204" y="474"/>
                    </a:lnTo>
                    <a:lnTo>
                      <a:pt x="198" y="474"/>
                    </a:lnTo>
                    <a:lnTo>
                      <a:pt x="192" y="474"/>
                    </a:lnTo>
                    <a:lnTo>
                      <a:pt x="186" y="474"/>
                    </a:lnTo>
                    <a:lnTo>
                      <a:pt x="180" y="474"/>
                    </a:lnTo>
                    <a:lnTo>
                      <a:pt x="174" y="474"/>
                    </a:lnTo>
                    <a:lnTo>
                      <a:pt x="168" y="474"/>
                    </a:lnTo>
                    <a:lnTo>
                      <a:pt x="162" y="474"/>
                    </a:lnTo>
                    <a:lnTo>
                      <a:pt x="156" y="468"/>
                    </a:lnTo>
                    <a:lnTo>
                      <a:pt x="150" y="468"/>
                    </a:lnTo>
                    <a:lnTo>
                      <a:pt x="150" y="462"/>
                    </a:lnTo>
                    <a:lnTo>
                      <a:pt x="144" y="456"/>
                    </a:lnTo>
                    <a:lnTo>
                      <a:pt x="144" y="450"/>
                    </a:lnTo>
                    <a:lnTo>
                      <a:pt x="138" y="450"/>
                    </a:lnTo>
                    <a:lnTo>
                      <a:pt x="138" y="444"/>
                    </a:lnTo>
                    <a:lnTo>
                      <a:pt x="138" y="438"/>
                    </a:lnTo>
                    <a:lnTo>
                      <a:pt x="132" y="432"/>
                    </a:lnTo>
                    <a:lnTo>
                      <a:pt x="132" y="426"/>
                    </a:lnTo>
                    <a:lnTo>
                      <a:pt x="132" y="420"/>
                    </a:lnTo>
                    <a:lnTo>
                      <a:pt x="126" y="420"/>
                    </a:lnTo>
                    <a:lnTo>
                      <a:pt x="126" y="414"/>
                    </a:lnTo>
                    <a:lnTo>
                      <a:pt x="120" y="414"/>
                    </a:lnTo>
                    <a:lnTo>
                      <a:pt x="126" y="414"/>
                    </a:lnTo>
                    <a:lnTo>
                      <a:pt x="120" y="408"/>
                    </a:lnTo>
                    <a:lnTo>
                      <a:pt x="120" y="402"/>
                    </a:lnTo>
                    <a:lnTo>
                      <a:pt x="114" y="402"/>
                    </a:lnTo>
                    <a:lnTo>
                      <a:pt x="114" y="396"/>
                    </a:lnTo>
                    <a:lnTo>
                      <a:pt x="108" y="390"/>
                    </a:lnTo>
                    <a:lnTo>
                      <a:pt x="102" y="384"/>
                    </a:lnTo>
                    <a:lnTo>
                      <a:pt x="90" y="372"/>
                    </a:lnTo>
                    <a:lnTo>
                      <a:pt x="84" y="372"/>
                    </a:lnTo>
                    <a:lnTo>
                      <a:pt x="78" y="372"/>
                    </a:lnTo>
                    <a:lnTo>
                      <a:pt x="66" y="366"/>
                    </a:lnTo>
                    <a:lnTo>
                      <a:pt x="60" y="366"/>
                    </a:lnTo>
                    <a:lnTo>
                      <a:pt x="54" y="366"/>
                    </a:lnTo>
                    <a:lnTo>
                      <a:pt x="48" y="366"/>
                    </a:lnTo>
                    <a:lnTo>
                      <a:pt x="42" y="366"/>
                    </a:lnTo>
                    <a:lnTo>
                      <a:pt x="36" y="366"/>
                    </a:lnTo>
                    <a:lnTo>
                      <a:pt x="36" y="372"/>
                    </a:lnTo>
                    <a:lnTo>
                      <a:pt x="30" y="372"/>
                    </a:lnTo>
                    <a:lnTo>
                      <a:pt x="24" y="372"/>
                    </a:lnTo>
                    <a:lnTo>
                      <a:pt x="12" y="372"/>
                    </a:lnTo>
                    <a:lnTo>
                      <a:pt x="6" y="372"/>
                    </a:lnTo>
                    <a:lnTo>
                      <a:pt x="0" y="372"/>
                    </a:lnTo>
                    <a:lnTo>
                      <a:pt x="0" y="366"/>
                    </a:lnTo>
                    <a:lnTo>
                      <a:pt x="0" y="360"/>
                    </a:lnTo>
                    <a:lnTo>
                      <a:pt x="0" y="354"/>
                    </a:lnTo>
                    <a:lnTo>
                      <a:pt x="6" y="354"/>
                    </a:lnTo>
                    <a:lnTo>
                      <a:pt x="0" y="354"/>
                    </a:lnTo>
                    <a:lnTo>
                      <a:pt x="0" y="348"/>
                    </a:lnTo>
                    <a:lnTo>
                      <a:pt x="0" y="342"/>
                    </a:lnTo>
                    <a:lnTo>
                      <a:pt x="0" y="336"/>
                    </a:lnTo>
                    <a:lnTo>
                      <a:pt x="6" y="336"/>
                    </a:lnTo>
                    <a:lnTo>
                      <a:pt x="0" y="336"/>
                    </a:lnTo>
                    <a:lnTo>
                      <a:pt x="6" y="336"/>
                    </a:lnTo>
                    <a:lnTo>
                      <a:pt x="6" y="330"/>
                    </a:lnTo>
                    <a:lnTo>
                      <a:pt x="0" y="324"/>
                    </a:lnTo>
                    <a:lnTo>
                      <a:pt x="0" y="318"/>
                    </a:lnTo>
                    <a:lnTo>
                      <a:pt x="6" y="318"/>
                    </a:lnTo>
                    <a:lnTo>
                      <a:pt x="0" y="312"/>
                    </a:lnTo>
                    <a:lnTo>
                      <a:pt x="0" y="306"/>
                    </a:lnTo>
                    <a:lnTo>
                      <a:pt x="0" y="300"/>
                    </a:lnTo>
                    <a:lnTo>
                      <a:pt x="0" y="294"/>
                    </a:lnTo>
                    <a:lnTo>
                      <a:pt x="0" y="288"/>
                    </a:lnTo>
                    <a:lnTo>
                      <a:pt x="0" y="282"/>
                    </a:lnTo>
                    <a:lnTo>
                      <a:pt x="0" y="276"/>
                    </a:lnTo>
                    <a:lnTo>
                      <a:pt x="0" y="270"/>
                    </a:lnTo>
                    <a:lnTo>
                      <a:pt x="0" y="264"/>
                    </a:lnTo>
                    <a:lnTo>
                      <a:pt x="0" y="258"/>
                    </a:lnTo>
                    <a:lnTo>
                      <a:pt x="0" y="252"/>
                    </a:lnTo>
                    <a:lnTo>
                      <a:pt x="6" y="252"/>
                    </a:lnTo>
                    <a:lnTo>
                      <a:pt x="0" y="252"/>
                    </a:lnTo>
                    <a:lnTo>
                      <a:pt x="0" y="246"/>
                    </a:lnTo>
                    <a:lnTo>
                      <a:pt x="6" y="246"/>
                    </a:lnTo>
                    <a:lnTo>
                      <a:pt x="0" y="246"/>
                    </a:lnTo>
                    <a:lnTo>
                      <a:pt x="6" y="246"/>
                    </a:lnTo>
                    <a:lnTo>
                      <a:pt x="6" y="240"/>
                    </a:lnTo>
                    <a:lnTo>
                      <a:pt x="6" y="234"/>
                    </a:lnTo>
                    <a:lnTo>
                      <a:pt x="12" y="234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24" y="228"/>
                    </a:lnTo>
                    <a:lnTo>
                      <a:pt x="24" y="222"/>
                    </a:lnTo>
                    <a:lnTo>
                      <a:pt x="24" y="216"/>
                    </a:lnTo>
                    <a:lnTo>
                      <a:pt x="30" y="210"/>
                    </a:lnTo>
                    <a:lnTo>
                      <a:pt x="30" y="204"/>
                    </a:lnTo>
                    <a:lnTo>
                      <a:pt x="30" y="198"/>
                    </a:lnTo>
                    <a:lnTo>
                      <a:pt x="36" y="198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8" y="192"/>
                    </a:lnTo>
                    <a:lnTo>
                      <a:pt x="48" y="186"/>
                    </a:lnTo>
                    <a:lnTo>
                      <a:pt x="48" y="180"/>
                    </a:lnTo>
                    <a:lnTo>
                      <a:pt x="42" y="180"/>
                    </a:lnTo>
                    <a:lnTo>
                      <a:pt x="42" y="174"/>
                    </a:lnTo>
                    <a:lnTo>
                      <a:pt x="48" y="174"/>
                    </a:lnTo>
                    <a:lnTo>
                      <a:pt x="48" y="168"/>
                    </a:lnTo>
                    <a:lnTo>
                      <a:pt x="54" y="168"/>
                    </a:lnTo>
                    <a:lnTo>
                      <a:pt x="54" y="162"/>
                    </a:lnTo>
                    <a:lnTo>
                      <a:pt x="60" y="162"/>
                    </a:lnTo>
                    <a:lnTo>
                      <a:pt x="54" y="156"/>
                    </a:lnTo>
                    <a:lnTo>
                      <a:pt x="54" y="150"/>
                    </a:lnTo>
                    <a:lnTo>
                      <a:pt x="54" y="144"/>
                    </a:lnTo>
                    <a:lnTo>
                      <a:pt x="54" y="138"/>
                    </a:lnTo>
                    <a:lnTo>
                      <a:pt x="48" y="138"/>
                    </a:lnTo>
                    <a:lnTo>
                      <a:pt x="48" y="132"/>
                    </a:lnTo>
                    <a:lnTo>
                      <a:pt x="42" y="126"/>
                    </a:lnTo>
                    <a:lnTo>
                      <a:pt x="42" y="114"/>
                    </a:lnTo>
                    <a:lnTo>
                      <a:pt x="42" y="10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30" name="Freeform 116"/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534" y="1890"/>
                <a:ext cx="121" cy="30"/>
              </a:xfrm>
              <a:custGeom>
                <a:avLst/>
                <a:gdLst>
                  <a:gd name="T0" fmla="*/ 15 w 150"/>
                  <a:gd name="T1" fmla="*/ 4 h 36"/>
                  <a:gd name="T2" fmla="*/ 20 w 150"/>
                  <a:gd name="T3" fmla="*/ 3 h 36"/>
                  <a:gd name="T4" fmla="*/ 22 w 150"/>
                  <a:gd name="T5" fmla="*/ 0 h 36"/>
                  <a:gd name="T6" fmla="*/ 23 w 150"/>
                  <a:gd name="T7" fmla="*/ 3 h 36"/>
                  <a:gd name="T8" fmla="*/ 25 w 150"/>
                  <a:gd name="T9" fmla="*/ 0 h 36"/>
                  <a:gd name="T10" fmla="*/ 28 w 150"/>
                  <a:gd name="T11" fmla="*/ 3 h 36"/>
                  <a:gd name="T12" fmla="*/ 29 w 150"/>
                  <a:gd name="T13" fmla="*/ 4 h 36"/>
                  <a:gd name="T14" fmla="*/ 33 w 150"/>
                  <a:gd name="T15" fmla="*/ 4 h 36"/>
                  <a:gd name="T16" fmla="*/ 35 w 150"/>
                  <a:gd name="T17" fmla="*/ 7 h 36"/>
                  <a:gd name="T18" fmla="*/ 39 w 150"/>
                  <a:gd name="T19" fmla="*/ 4 h 36"/>
                  <a:gd name="T20" fmla="*/ 42 w 150"/>
                  <a:gd name="T21" fmla="*/ 7 h 36"/>
                  <a:gd name="T22" fmla="*/ 40 w 150"/>
                  <a:gd name="T23" fmla="*/ 8 h 36"/>
                  <a:gd name="T24" fmla="*/ 39 w 150"/>
                  <a:gd name="T25" fmla="*/ 11 h 36"/>
                  <a:gd name="T26" fmla="*/ 35 w 150"/>
                  <a:gd name="T27" fmla="*/ 11 h 36"/>
                  <a:gd name="T28" fmla="*/ 33 w 150"/>
                  <a:gd name="T29" fmla="*/ 8 h 36"/>
                  <a:gd name="T30" fmla="*/ 29 w 150"/>
                  <a:gd name="T31" fmla="*/ 8 h 36"/>
                  <a:gd name="T32" fmla="*/ 28 w 150"/>
                  <a:gd name="T33" fmla="*/ 7 h 36"/>
                  <a:gd name="T34" fmla="*/ 25 w 150"/>
                  <a:gd name="T35" fmla="*/ 7 h 36"/>
                  <a:gd name="T36" fmla="*/ 23 w 150"/>
                  <a:gd name="T37" fmla="*/ 4 h 36"/>
                  <a:gd name="T38" fmla="*/ 23 w 150"/>
                  <a:gd name="T39" fmla="*/ 8 h 36"/>
                  <a:gd name="T40" fmla="*/ 20 w 150"/>
                  <a:gd name="T41" fmla="*/ 8 h 36"/>
                  <a:gd name="T42" fmla="*/ 16 w 150"/>
                  <a:gd name="T43" fmla="*/ 8 h 36"/>
                  <a:gd name="T44" fmla="*/ 15 w 150"/>
                  <a:gd name="T45" fmla="*/ 13 h 36"/>
                  <a:gd name="T46" fmla="*/ 6 w 150"/>
                  <a:gd name="T47" fmla="*/ 13 h 36"/>
                  <a:gd name="T48" fmla="*/ 2 w 150"/>
                  <a:gd name="T49" fmla="*/ 11 h 36"/>
                  <a:gd name="T50" fmla="*/ 0 w 150"/>
                  <a:gd name="T51" fmla="*/ 8 h 36"/>
                  <a:gd name="T52" fmla="*/ 2 w 150"/>
                  <a:gd name="T53" fmla="*/ 7 h 36"/>
                  <a:gd name="T54" fmla="*/ 3 w 150"/>
                  <a:gd name="T55" fmla="*/ 8 h 36"/>
                  <a:gd name="T56" fmla="*/ 6 w 150"/>
                  <a:gd name="T57" fmla="*/ 11 h 36"/>
                  <a:gd name="T58" fmla="*/ 10 w 150"/>
                  <a:gd name="T59" fmla="*/ 8 h 36"/>
                  <a:gd name="T60" fmla="*/ 10 w 150"/>
                  <a:gd name="T61" fmla="*/ 8 h 36"/>
                  <a:gd name="T62" fmla="*/ 12 w 150"/>
                  <a:gd name="T63" fmla="*/ 7 h 36"/>
                  <a:gd name="T64" fmla="*/ 12 w 150"/>
                  <a:gd name="T65" fmla="*/ 7 h 36"/>
                  <a:gd name="T66" fmla="*/ 15 w 150"/>
                  <a:gd name="T67" fmla="*/ 7 h 36"/>
                  <a:gd name="T68" fmla="*/ 19 w 150"/>
                  <a:gd name="T69" fmla="*/ 7 h 36"/>
                  <a:gd name="T70" fmla="*/ 15 w 150"/>
                  <a:gd name="T71" fmla="*/ 7 h 36"/>
                  <a:gd name="T72" fmla="*/ 12 w 150"/>
                  <a:gd name="T73" fmla="*/ 7 h 36"/>
                  <a:gd name="T74" fmla="*/ 8 w 150"/>
                  <a:gd name="T75" fmla="*/ 8 h 36"/>
                  <a:gd name="T76" fmla="*/ 5 w 150"/>
                  <a:gd name="T77" fmla="*/ 8 h 36"/>
                  <a:gd name="T78" fmla="*/ 5 w 150"/>
                  <a:gd name="T79" fmla="*/ 4 h 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50" h="36">
                    <a:moveTo>
                      <a:pt x="18" y="12"/>
                    </a:moveTo>
                    <a:lnTo>
                      <a:pt x="54" y="12"/>
                    </a:lnTo>
                    <a:lnTo>
                      <a:pt x="66" y="12"/>
                    </a:lnTo>
                    <a:lnTo>
                      <a:pt x="72" y="6"/>
                    </a:lnTo>
                    <a:lnTo>
                      <a:pt x="78" y="6"/>
                    </a:lnTo>
                    <a:lnTo>
                      <a:pt x="78" y="0"/>
                    </a:lnTo>
                    <a:lnTo>
                      <a:pt x="78" y="6"/>
                    </a:lnTo>
                    <a:lnTo>
                      <a:pt x="84" y="6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02" y="6"/>
                    </a:lnTo>
                    <a:lnTo>
                      <a:pt x="102" y="12"/>
                    </a:lnTo>
                    <a:lnTo>
                      <a:pt x="108" y="12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26" y="18"/>
                    </a:lnTo>
                    <a:lnTo>
                      <a:pt x="132" y="18"/>
                    </a:lnTo>
                    <a:lnTo>
                      <a:pt x="138" y="12"/>
                    </a:lnTo>
                    <a:lnTo>
                      <a:pt x="144" y="12"/>
                    </a:lnTo>
                    <a:lnTo>
                      <a:pt x="150" y="18"/>
                    </a:lnTo>
                    <a:lnTo>
                      <a:pt x="150" y="24"/>
                    </a:lnTo>
                    <a:lnTo>
                      <a:pt x="144" y="24"/>
                    </a:lnTo>
                    <a:lnTo>
                      <a:pt x="144" y="30"/>
                    </a:lnTo>
                    <a:lnTo>
                      <a:pt x="138" y="30"/>
                    </a:lnTo>
                    <a:lnTo>
                      <a:pt x="132" y="30"/>
                    </a:lnTo>
                    <a:lnTo>
                      <a:pt x="126" y="30"/>
                    </a:lnTo>
                    <a:lnTo>
                      <a:pt x="120" y="30"/>
                    </a:lnTo>
                    <a:lnTo>
                      <a:pt x="120" y="24"/>
                    </a:lnTo>
                    <a:lnTo>
                      <a:pt x="114" y="24"/>
                    </a:lnTo>
                    <a:lnTo>
                      <a:pt x="108" y="24"/>
                    </a:lnTo>
                    <a:lnTo>
                      <a:pt x="102" y="24"/>
                    </a:lnTo>
                    <a:lnTo>
                      <a:pt x="102" y="18"/>
                    </a:lnTo>
                    <a:lnTo>
                      <a:pt x="96" y="18"/>
                    </a:lnTo>
                    <a:lnTo>
                      <a:pt x="90" y="18"/>
                    </a:lnTo>
                    <a:lnTo>
                      <a:pt x="90" y="12"/>
                    </a:lnTo>
                    <a:lnTo>
                      <a:pt x="84" y="12"/>
                    </a:lnTo>
                    <a:lnTo>
                      <a:pt x="84" y="18"/>
                    </a:lnTo>
                    <a:lnTo>
                      <a:pt x="84" y="24"/>
                    </a:lnTo>
                    <a:lnTo>
                      <a:pt x="78" y="24"/>
                    </a:lnTo>
                    <a:lnTo>
                      <a:pt x="72" y="24"/>
                    </a:lnTo>
                    <a:lnTo>
                      <a:pt x="66" y="24"/>
                    </a:lnTo>
                    <a:lnTo>
                      <a:pt x="60" y="24"/>
                    </a:lnTo>
                    <a:lnTo>
                      <a:pt x="54" y="24"/>
                    </a:lnTo>
                    <a:lnTo>
                      <a:pt x="54" y="36"/>
                    </a:lnTo>
                    <a:lnTo>
                      <a:pt x="42" y="36"/>
                    </a:lnTo>
                    <a:lnTo>
                      <a:pt x="24" y="36"/>
                    </a:lnTo>
                    <a:lnTo>
                      <a:pt x="6" y="36"/>
                    </a:lnTo>
                    <a:lnTo>
                      <a:pt x="6" y="30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30" y="24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24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54" y="18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0" y="24"/>
                    </a:lnTo>
                    <a:lnTo>
                      <a:pt x="24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6350" cmpd="sng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sp>
            <p:nvSpPr>
              <p:cNvPr id="14431" name="Freeform 117"/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538" y="1939"/>
                <a:ext cx="126" cy="68"/>
              </a:xfrm>
              <a:custGeom>
                <a:avLst/>
                <a:gdLst>
                  <a:gd name="T0" fmla="*/ 3 w 156"/>
                  <a:gd name="T1" fmla="*/ 3 h 84"/>
                  <a:gd name="T2" fmla="*/ 8 w 156"/>
                  <a:gd name="T3" fmla="*/ 2 h 84"/>
                  <a:gd name="T4" fmla="*/ 15 w 156"/>
                  <a:gd name="T5" fmla="*/ 3 h 84"/>
                  <a:gd name="T6" fmla="*/ 20 w 156"/>
                  <a:gd name="T7" fmla="*/ 0 h 84"/>
                  <a:gd name="T8" fmla="*/ 27 w 156"/>
                  <a:gd name="T9" fmla="*/ 0 h 84"/>
                  <a:gd name="T10" fmla="*/ 43 w 156"/>
                  <a:gd name="T11" fmla="*/ 2 h 84"/>
                  <a:gd name="T12" fmla="*/ 42 w 156"/>
                  <a:gd name="T13" fmla="*/ 5 h 84"/>
                  <a:gd name="T14" fmla="*/ 39 w 156"/>
                  <a:gd name="T15" fmla="*/ 6 h 84"/>
                  <a:gd name="T16" fmla="*/ 42 w 156"/>
                  <a:gd name="T17" fmla="*/ 8 h 84"/>
                  <a:gd name="T18" fmla="*/ 42 w 156"/>
                  <a:gd name="T19" fmla="*/ 14 h 84"/>
                  <a:gd name="T20" fmla="*/ 40 w 156"/>
                  <a:gd name="T21" fmla="*/ 14 h 84"/>
                  <a:gd name="T22" fmla="*/ 35 w 156"/>
                  <a:gd name="T23" fmla="*/ 14 h 84"/>
                  <a:gd name="T24" fmla="*/ 28 w 156"/>
                  <a:gd name="T25" fmla="*/ 15 h 84"/>
                  <a:gd name="T26" fmla="*/ 27 w 156"/>
                  <a:gd name="T27" fmla="*/ 19 h 84"/>
                  <a:gd name="T28" fmla="*/ 23 w 156"/>
                  <a:gd name="T29" fmla="*/ 23 h 84"/>
                  <a:gd name="T30" fmla="*/ 23 w 156"/>
                  <a:gd name="T31" fmla="*/ 20 h 84"/>
                  <a:gd name="T32" fmla="*/ 22 w 156"/>
                  <a:gd name="T33" fmla="*/ 20 h 84"/>
                  <a:gd name="T34" fmla="*/ 20 w 156"/>
                  <a:gd name="T35" fmla="*/ 20 h 84"/>
                  <a:gd name="T36" fmla="*/ 19 w 156"/>
                  <a:gd name="T37" fmla="*/ 20 h 84"/>
                  <a:gd name="T38" fmla="*/ 20 w 156"/>
                  <a:gd name="T39" fmla="*/ 17 h 84"/>
                  <a:gd name="T40" fmla="*/ 17 w 156"/>
                  <a:gd name="T41" fmla="*/ 19 h 84"/>
                  <a:gd name="T42" fmla="*/ 17 w 156"/>
                  <a:gd name="T43" fmla="*/ 17 h 84"/>
                  <a:gd name="T44" fmla="*/ 19 w 156"/>
                  <a:gd name="T45" fmla="*/ 15 h 84"/>
                  <a:gd name="T46" fmla="*/ 20 w 156"/>
                  <a:gd name="T47" fmla="*/ 15 h 84"/>
                  <a:gd name="T48" fmla="*/ 22 w 156"/>
                  <a:gd name="T49" fmla="*/ 15 h 84"/>
                  <a:gd name="T50" fmla="*/ 22 w 156"/>
                  <a:gd name="T51" fmla="*/ 14 h 84"/>
                  <a:gd name="T52" fmla="*/ 22 w 156"/>
                  <a:gd name="T53" fmla="*/ 15 h 84"/>
                  <a:gd name="T54" fmla="*/ 23 w 156"/>
                  <a:gd name="T55" fmla="*/ 15 h 84"/>
                  <a:gd name="T56" fmla="*/ 23 w 156"/>
                  <a:gd name="T57" fmla="*/ 14 h 84"/>
                  <a:gd name="T58" fmla="*/ 22 w 156"/>
                  <a:gd name="T59" fmla="*/ 14 h 84"/>
                  <a:gd name="T60" fmla="*/ 20 w 156"/>
                  <a:gd name="T61" fmla="*/ 14 h 84"/>
                  <a:gd name="T62" fmla="*/ 22 w 156"/>
                  <a:gd name="T63" fmla="*/ 14 h 84"/>
                  <a:gd name="T64" fmla="*/ 22 w 156"/>
                  <a:gd name="T65" fmla="*/ 12 h 84"/>
                  <a:gd name="T66" fmla="*/ 20 w 156"/>
                  <a:gd name="T67" fmla="*/ 14 h 84"/>
                  <a:gd name="T68" fmla="*/ 19 w 156"/>
                  <a:gd name="T69" fmla="*/ 14 h 84"/>
                  <a:gd name="T70" fmla="*/ 19 w 156"/>
                  <a:gd name="T71" fmla="*/ 14 h 84"/>
                  <a:gd name="T72" fmla="*/ 17 w 156"/>
                  <a:gd name="T73" fmla="*/ 14 h 84"/>
                  <a:gd name="T74" fmla="*/ 19 w 156"/>
                  <a:gd name="T75" fmla="*/ 10 h 84"/>
                  <a:gd name="T76" fmla="*/ 23 w 156"/>
                  <a:gd name="T77" fmla="*/ 10 h 84"/>
                  <a:gd name="T78" fmla="*/ 22 w 156"/>
                  <a:gd name="T79" fmla="*/ 10 h 84"/>
                  <a:gd name="T80" fmla="*/ 19 w 156"/>
                  <a:gd name="T81" fmla="*/ 10 h 84"/>
                  <a:gd name="T82" fmla="*/ 14 w 156"/>
                  <a:gd name="T83" fmla="*/ 12 h 84"/>
                  <a:gd name="T84" fmla="*/ 12 w 156"/>
                  <a:gd name="T85" fmla="*/ 12 h 84"/>
                  <a:gd name="T86" fmla="*/ 8 w 156"/>
                  <a:gd name="T87" fmla="*/ 10 h 84"/>
                  <a:gd name="T88" fmla="*/ 5 w 156"/>
                  <a:gd name="T89" fmla="*/ 8 h 84"/>
                  <a:gd name="T90" fmla="*/ 6 w 156"/>
                  <a:gd name="T91" fmla="*/ 5 h 84"/>
                  <a:gd name="T92" fmla="*/ 5 w 156"/>
                  <a:gd name="T93" fmla="*/ 6 h 84"/>
                  <a:gd name="T94" fmla="*/ 2 w 156"/>
                  <a:gd name="T95" fmla="*/ 5 h 8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56" h="84">
                    <a:moveTo>
                      <a:pt x="0" y="12"/>
                    </a:moveTo>
                    <a:lnTo>
                      <a:pt x="6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24" y="6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42" y="12"/>
                    </a:lnTo>
                    <a:lnTo>
                      <a:pt x="54" y="12"/>
                    </a:lnTo>
                    <a:lnTo>
                      <a:pt x="60" y="6"/>
                    </a:lnTo>
                    <a:lnTo>
                      <a:pt x="66" y="6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6" y="0"/>
                    </a:lnTo>
                    <a:lnTo>
                      <a:pt x="150" y="0"/>
                    </a:lnTo>
                    <a:lnTo>
                      <a:pt x="150" y="6"/>
                    </a:lnTo>
                    <a:lnTo>
                      <a:pt x="156" y="6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50" y="18"/>
                    </a:lnTo>
                    <a:lnTo>
                      <a:pt x="144" y="18"/>
                    </a:lnTo>
                    <a:lnTo>
                      <a:pt x="138" y="18"/>
                    </a:lnTo>
                    <a:lnTo>
                      <a:pt x="138" y="24"/>
                    </a:lnTo>
                    <a:lnTo>
                      <a:pt x="144" y="24"/>
                    </a:lnTo>
                    <a:lnTo>
                      <a:pt x="144" y="30"/>
                    </a:lnTo>
                    <a:lnTo>
                      <a:pt x="150" y="30"/>
                    </a:lnTo>
                    <a:lnTo>
                      <a:pt x="150" y="36"/>
                    </a:lnTo>
                    <a:lnTo>
                      <a:pt x="150" y="42"/>
                    </a:lnTo>
                    <a:lnTo>
                      <a:pt x="150" y="48"/>
                    </a:lnTo>
                    <a:lnTo>
                      <a:pt x="144" y="48"/>
                    </a:lnTo>
                    <a:lnTo>
                      <a:pt x="144" y="42"/>
                    </a:lnTo>
                    <a:lnTo>
                      <a:pt x="144" y="48"/>
                    </a:lnTo>
                    <a:lnTo>
                      <a:pt x="138" y="48"/>
                    </a:lnTo>
                    <a:lnTo>
                      <a:pt x="132" y="48"/>
                    </a:lnTo>
                    <a:lnTo>
                      <a:pt x="126" y="48"/>
                    </a:lnTo>
                    <a:lnTo>
                      <a:pt x="120" y="48"/>
                    </a:lnTo>
                    <a:lnTo>
                      <a:pt x="108" y="54"/>
                    </a:lnTo>
                    <a:lnTo>
                      <a:pt x="102" y="54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96" y="66"/>
                    </a:lnTo>
                    <a:lnTo>
                      <a:pt x="90" y="78"/>
                    </a:lnTo>
                    <a:lnTo>
                      <a:pt x="90" y="84"/>
                    </a:lnTo>
                    <a:lnTo>
                      <a:pt x="84" y="84"/>
                    </a:lnTo>
                    <a:lnTo>
                      <a:pt x="78" y="84"/>
                    </a:lnTo>
                    <a:lnTo>
                      <a:pt x="84" y="78"/>
                    </a:lnTo>
                    <a:lnTo>
                      <a:pt x="84" y="72"/>
                    </a:lnTo>
                    <a:lnTo>
                      <a:pt x="90" y="72"/>
                    </a:lnTo>
                    <a:lnTo>
                      <a:pt x="84" y="72"/>
                    </a:lnTo>
                    <a:lnTo>
                      <a:pt x="78" y="72"/>
                    </a:lnTo>
                    <a:lnTo>
                      <a:pt x="78" y="78"/>
                    </a:lnTo>
                    <a:lnTo>
                      <a:pt x="78" y="72"/>
                    </a:lnTo>
                    <a:lnTo>
                      <a:pt x="72" y="72"/>
                    </a:lnTo>
                    <a:lnTo>
                      <a:pt x="78" y="72"/>
                    </a:lnTo>
                    <a:lnTo>
                      <a:pt x="72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6" y="60"/>
                    </a:lnTo>
                    <a:lnTo>
                      <a:pt x="72" y="60"/>
                    </a:lnTo>
                    <a:lnTo>
                      <a:pt x="66" y="60"/>
                    </a:lnTo>
                    <a:lnTo>
                      <a:pt x="66" y="66"/>
                    </a:lnTo>
                    <a:lnTo>
                      <a:pt x="60" y="66"/>
                    </a:lnTo>
                    <a:lnTo>
                      <a:pt x="60" y="60"/>
                    </a:lnTo>
                    <a:lnTo>
                      <a:pt x="66" y="60"/>
                    </a:lnTo>
                    <a:lnTo>
                      <a:pt x="60" y="60"/>
                    </a:lnTo>
                    <a:lnTo>
                      <a:pt x="66" y="54"/>
                    </a:lnTo>
                    <a:lnTo>
                      <a:pt x="66" y="60"/>
                    </a:lnTo>
                    <a:lnTo>
                      <a:pt x="66" y="54"/>
                    </a:lnTo>
                    <a:lnTo>
                      <a:pt x="72" y="54"/>
                    </a:lnTo>
                    <a:lnTo>
                      <a:pt x="72" y="48"/>
                    </a:lnTo>
                    <a:lnTo>
                      <a:pt x="72" y="54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84" y="48"/>
                    </a:lnTo>
                    <a:lnTo>
                      <a:pt x="84" y="54"/>
                    </a:lnTo>
                    <a:lnTo>
                      <a:pt x="78" y="54"/>
                    </a:lnTo>
                    <a:lnTo>
                      <a:pt x="84" y="54"/>
                    </a:lnTo>
                    <a:lnTo>
                      <a:pt x="90" y="54"/>
                    </a:lnTo>
                    <a:lnTo>
                      <a:pt x="84" y="54"/>
                    </a:lnTo>
                    <a:lnTo>
                      <a:pt x="84" y="48"/>
                    </a:lnTo>
                    <a:lnTo>
                      <a:pt x="90" y="48"/>
                    </a:lnTo>
                    <a:lnTo>
                      <a:pt x="84" y="48"/>
                    </a:lnTo>
                    <a:lnTo>
                      <a:pt x="84" y="54"/>
                    </a:lnTo>
                    <a:lnTo>
                      <a:pt x="84" y="48"/>
                    </a:lnTo>
                    <a:lnTo>
                      <a:pt x="78" y="48"/>
                    </a:lnTo>
                    <a:lnTo>
                      <a:pt x="84" y="48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8" y="42"/>
                    </a:lnTo>
                    <a:lnTo>
                      <a:pt x="78" y="48"/>
                    </a:lnTo>
                    <a:lnTo>
                      <a:pt x="78" y="42"/>
                    </a:lnTo>
                    <a:lnTo>
                      <a:pt x="72" y="42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2" y="48"/>
                    </a:lnTo>
                    <a:lnTo>
                      <a:pt x="66" y="48"/>
                    </a:lnTo>
                    <a:lnTo>
                      <a:pt x="72" y="54"/>
                    </a:lnTo>
                    <a:lnTo>
                      <a:pt x="66" y="54"/>
                    </a:lnTo>
                    <a:lnTo>
                      <a:pt x="66" y="48"/>
                    </a:lnTo>
                    <a:lnTo>
                      <a:pt x="66" y="54"/>
                    </a:lnTo>
                    <a:lnTo>
                      <a:pt x="66" y="48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66" y="42"/>
                    </a:lnTo>
                    <a:lnTo>
                      <a:pt x="66" y="36"/>
                    </a:lnTo>
                    <a:lnTo>
                      <a:pt x="72" y="36"/>
                    </a:lnTo>
                    <a:lnTo>
                      <a:pt x="78" y="36"/>
                    </a:lnTo>
                    <a:lnTo>
                      <a:pt x="84" y="36"/>
                    </a:lnTo>
                    <a:lnTo>
                      <a:pt x="84" y="30"/>
                    </a:lnTo>
                    <a:lnTo>
                      <a:pt x="78" y="30"/>
                    </a:lnTo>
                    <a:lnTo>
                      <a:pt x="78" y="36"/>
                    </a:lnTo>
                    <a:lnTo>
                      <a:pt x="72" y="36"/>
                    </a:lnTo>
                    <a:lnTo>
                      <a:pt x="66" y="30"/>
                    </a:lnTo>
                    <a:lnTo>
                      <a:pt x="66" y="36"/>
                    </a:lnTo>
                    <a:lnTo>
                      <a:pt x="60" y="36"/>
                    </a:lnTo>
                    <a:lnTo>
                      <a:pt x="54" y="42"/>
                    </a:lnTo>
                    <a:lnTo>
                      <a:pt x="48" y="42"/>
                    </a:lnTo>
                    <a:lnTo>
                      <a:pt x="42" y="42"/>
                    </a:lnTo>
                    <a:lnTo>
                      <a:pt x="36" y="42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0" y="36"/>
                    </a:lnTo>
                    <a:lnTo>
                      <a:pt x="24" y="36"/>
                    </a:lnTo>
                    <a:lnTo>
                      <a:pt x="24" y="30"/>
                    </a:lnTo>
                    <a:lnTo>
                      <a:pt x="18" y="30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30" y="18"/>
                    </a:lnTo>
                    <a:lnTo>
                      <a:pt x="24" y="18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ZA"/>
              </a:p>
            </p:txBody>
          </p:sp>
          <p:grpSp>
            <p:nvGrpSpPr>
              <p:cNvPr id="14432" name="Group 118"/>
              <p:cNvGrpSpPr>
                <a:grpSpLocks noChangeAspect="1"/>
              </p:cNvGrpSpPr>
              <p:nvPr>
                <p:custDataLst>
                  <p:tags r:id="rId63"/>
                </p:custDataLst>
              </p:nvPr>
            </p:nvGrpSpPr>
            <p:grpSpPr bwMode="auto">
              <a:xfrm>
                <a:off x="1195" y="1756"/>
                <a:ext cx="107" cy="97"/>
                <a:chOff x="989" y="1637"/>
                <a:chExt cx="113" cy="102"/>
              </a:xfrm>
            </p:grpSpPr>
            <p:sp>
              <p:nvSpPr>
                <p:cNvPr id="14433" name="Freeform 119"/>
                <p:cNvSpPr>
                  <a:spLocks noChangeAspect="1"/>
                </p:cNvSpPr>
                <p:nvPr>
                  <p:custDataLst>
                    <p:tags r:id="rId64"/>
                  </p:custDataLst>
                </p:nvPr>
              </p:nvSpPr>
              <p:spPr bwMode="auto">
                <a:xfrm>
                  <a:off x="1056" y="1718"/>
                  <a:ext cx="15" cy="16"/>
                </a:xfrm>
                <a:custGeom>
                  <a:avLst/>
                  <a:gdLst>
                    <a:gd name="T0" fmla="*/ 0 w 18"/>
                    <a:gd name="T1" fmla="*/ 6 h 18"/>
                    <a:gd name="T2" fmla="*/ 0 w 18"/>
                    <a:gd name="T3" fmla="*/ 4 h 18"/>
                    <a:gd name="T4" fmla="*/ 0 w 18"/>
                    <a:gd name="T5" fmla="*/ 0 h 18"/>
                    <a:gd name="T6" fmla="*/ 3 w 18"/>
                    <a:gd name="T7" fmla="*/ 0 h 18"/>
                    <a:gd name="T8" fmla="*/ 0 w 18"/>
                    <a:gd name="T9" fmla="*/ 0 h 18"/>
                    <a:gd name="T10" fmla="*/ 3 w 18"/>
                    <a:gd name="T11" fmla="*/ 0 h 18"/>
                    <a:gd name="T12" fmla="*/ 3 w 18"/>
                    <a:gd name="T13" fmla="*/ 4 h 18"/>
                    <a:gd name="T14" fmla="*/ 3 w 18"/>
                    <a:gd name="T15" fmla="*/ 0 h 18"/>
                    <a:gd name="T16" fmla="*/ 3 w 18"/>
                    <a:gd name="T17" fmla="*/ 4 h 18"/>
                    <a:gd name="T18" fmla="*/ 4 w 18"/>
                    <a:gd name="T19" fmla="*/ 4 h 18"/>
                    <a:gd name="T20" fmla="*/ 4 w 18"/>
                    <a:gd name="T21" fmla="*/ 6 h 18"/>
                    <a:gd name="T22" fmla="*/ 7 w 18"/>
                    <a:gd name="T23" fmla="*/ 6 h 18"/>
                    <a:gd name="T24" fmla="*/ 4 w 18"/>
                    <a:gd name="T25" fmla="*/ 6 h 18"/>
                    <a:gd name="T26" fmla="*/ 7 w 18"/>
                    <a:gd name="T27" fmla="*/ 6 h 18"/>
                    <a:gd name="T28" fmla="*/ 7 w 18"/>
                    <a:gd name="T29" fmla="*/ 9 h 18"/>
                    <a:gd name="T30" fmla="*/ 4 w 18"/>
                    <a:gd name="T31" fmla="*/ 6 h 18"/>
                    <a:gd name="T32" fmla="*/ 4 w 18"/>
                    <a:gd name="T33" fmla="*/ 9 h 18"/>
                    <a:gd name="T34" fmla="*/ 3 w 18"/>
                    <a:gd name="T35" fmla="*/ 9 h 18"/>
                    <a:gd name="T36" fmla="*/ 0 w 18"/>
                    <a:gd name="T37" fmla="*/ 9 h 18"/>
                    <a:gd name="T38" fmla="*/ 0 w 18"/>
                    <a:gd name="T39" fmla="*/ 6 h 18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18" h="18">
                      <a:moveTo>
                        <a:pt x="0" y="12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8" y="18"/>
                      </a:lnTo>
                      <a:lnTo>
                        <a:pt x="12" y="12"/>
                      </a:lnTo>
                      <a:lnTo>
                        <a:pt x="12" y="18"/>
                      </a:lnTo>
                      <a:lnTo>
                        <a:pt x="6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ZA"/>
                </a:p>
              </p:txBody>
            </p:sp>
            <p:sp>
              <p:nvSpPr>
                <p:cNvPr id="14434" name="Freeform 120"/>
                <p:cNvSpPr>
                  <a:spLocks noChangeAspect="1"/>
                </p:cNvSpPr>
                <p:nvPr>
                  <p:custDataLst>
                    <p:tags r:id="rId65"/>
                  </p:custDataLst>
                </p:nvPr>
              </p:nvSpPr>
              <p:spPr bwMode="auto">
                <a:xfrm>
                  <a:off x="1000" y="1647"/>
                  <a:ext cx="10" cy="10"/>
                </a:xfrm>
                <a:custGeom>
                  <a:avLst/>
                  <a:gdLst>
                    <a:gd name="T0" fmla="*/ 3 w 12"/>
                    <a:gd name="T1" fmla="*/ 3 h 12"/>
                    <a:gd name="T2" fmla="*/ 3 w 12"/>
                    <a:gd name="T3" fmla="*/ 0 h 12"/>
                    <a:gd name="T4" fmla="*/ 3 w 12"/>
                    <a:gd name="T5" fmla="*/ 3 h 12"/>
                    <a:gd name="T6" fmla="*/ 3 w 12"/>
                    <a:gd name="T7" fmla="*/ 0 h 12"/>
                    <a:gd name="T8" fmla="*/ 3 w 12"/>
                    <a:gd name="T9" fmla="*/ 3 h 12"/>
                    <a:gd name="T10" fmla="*/ 4 w 12"/>
                    <a:gd name="T11" fmla="*/ 3 h 12"/>
                    <a:gd name="T12" fmla="*/ 3 w 12"/>
                    <a:gd name="T13" fmla="*/ 3 h 12"/>
                    <a:gd name="T14" fmla="*/ 3 w 12"/>
                    <a:gd name="T15" fmla="*/ 4 h 12"/>
                    <a:gd name="T16" fmla="*/ 0 w 12"/>
                    <a:gd name="T17" fmla="*/ 4 h 12"/>
                    <a:gd name="T18" fmla="*/ 0 w 12"/>
                    <a:gd name="T19" fmla="*/ 3 h 12"/>
                    <a:gd name="T20" fmla="*/ 3 w 12"/>
                    <a:gd name="T21" fmla="*/ 3 h 1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2" h="12">
                      <a:moveTo>
                        <a:pt x="6" y="6"/>
                      </a:move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6" y="12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ZA"/>
                </a:p>
              </p:txBody>
            </p:sp>
            <p:sp>
              <p:nvSpPr>
                <p:cNvPr id="14435" name="Rectangle 121"/>
                <p:cNvSpPr>
                  <a:spLocks noChangeAspect="1" noChangeArrowheads="1"/>
                </p:cNvSpPr>
                <p:nvPr>
                  <p:custDataLst>
                    <p:tags r:id="rId66"/>
                  </p:custDataLst>
                </p:nvPr>
              </p:nvSpPr>
              <p:spPr bwMode="auto">
                <a:xfrm>
                  <a:off x="1076" y="1718"/>
                  <a:ext cx="5" cy="5"/>
                </a:xfrm>
                <a:prstGeom prst="rect">
                  <a:avLst/>
                </a:prstGeom>
                <a:solidFill>
                  <a:srgbClr val="CE6B29"/>
                </a:solidFill>
                <a:ln w="9525">
                  <a:solidFill>
                    <a:srgbClr val="80808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700" b="1"/>
                </a:p>
              </p:txBody>
            </p:sp>
            <p:sp>
              <p:nvSpPr>
                <p:cNvPr id="14436" name="Freeform 122"/>
                <p:cNvSpPr>
                  <a:spLocks noChangeAspect="1"/>
                </p:cNvSpPr>
                <p:nvPr>
                  <p:custDataLst>
                    <p:tags r:id="rId67"/>
                  </p:custDataLst>
                </p:nvPr>
              </p:nvSpPr>
              <p:spPr bwMode="auto">
                <a:xfrm>
                  <a:off x="1010" y="1652"/>
                  <a:ext cx="5" cy="5"/>
                </a:xfrm>
                <a:custGeom>
                  <a:avLst/>
                  <a:gdLst>
                    <a:gd name="T0" fmla="*/ 3 w 6"/>
                    <a:gd name="T1" fmla="*/ 3 h 6"/>
                    <a:gd name="T2" fmla="*/ 0 w 6"/>
                    <a:gd name="T3" fmla="*/ 3 h 6"/>
                    <a:gd name="T4" fmla="*/ 0 w 6"/>
                    <a:gd name="T5" fmla="*/ 0 h 6"/>
                    <a:gd name="T6" fmla="*/ 3 w 6"/>
                    <a:gd name="T7" fmla="*/ 3 h 6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6" h="6">
                      <a:moveTo>
                        <a:pt x="6" y="6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ZA"/>
                </a:p>
              </p:txBody>
            </p:sp>
            <p:sp>
              <p:nvSpPr>
                <p:cNvPr id="14437" name="Freeform 123"/>
                <p:cNvSpPr>
                  <a:spLocks noChangeAspect="1"/>
                </p:cNvSpPr>
                <p:nvPr>
                  <p:custDataLst>
                    <p:tags r:id="rId68"/>
                  </p:custDataLst>
                </p:nvPr>
              </p:nvSpPr>
              <p:spPr bwMode="auto">
                <a:xfrm>
                  <a:off x="989" y="1637"/>
                  <a:ext cx="16" cy="15"/>
                </a:xfrm>
                <a:custGeom>
                  <a:avLst/>
                  <a:gdLst>
                    <a:gd name="T0" fmla="*/ 9 w 18"/>
                    <a:gd name="T1" fmla="*/ 3 h 18"/>
                    <a:gd name="T2" fmla="*/ 6 w 18"/>
                    <a:gd name="T3" fmla="*/ 4 h 18"/>
                    <a:gd name="T4" fmla="*/ 4 w 18"/>
                    <a:gd name="T5" fmla="*/ 4 h 18"/>
                    <a:gd name="T6" fmla="*/ 4 w 18"/>
                    <a:gd name="T7" fmla="*/ 7 h 18"/>
                    <a:gd name="T8" fmla="*/ 4 w 18"/>
                    <a:gd name="T9" fmla="*/ 4 h 18"/>
                    <a:gd name="T10" fmla="*/ 4 w 18"/>
                    <a:gd name="T11" fmla="*/ 7 h 18"/>
                    <a:gd name="T12" fmla="*/ 4 w 18"/>
                    <a:gd name="T13" fmla="*/ 4 h 18"/>
                    <a:gd name="T14" fmla="*/ 0 w 18"/>
                    <a:gd name="T15" fmla="*/ 7 h 18"/>
                    <a:gd name="T16" fmla="*/ 0 w 18"/>
                    <a:gd name="T17" fmla="*/ 4 h 18"/>
                    <a:gd name="T18" fmla="*/ 0 w 18"/>
                    <a:gd name="T19" fmla="*/ 3 h 18"/>
                    <a:gd name="T20" fmla="*/ 4 w 18"/>
                    <a:gd name="T21" fmla="*/ 3 h 18"/>
                    <a:gd name="T22" fmla="*/ 4 w 18"/>
                    <a:gd name="T23" fmla="*/ 0 h 18"/>
                    <a:gd name="T24" fmla="*/ 6 w 18"/>
                    <a:gd name="T25" fmla="*/ 0 h 18"/>
                    <a:gd name="T26" fmla="*/ 6 w 18"/>
                    <a:gd name="T27" fmla="*/ 3 h 18"/>
                    <a:gd name="T28" fmla="*/ 9 w 18"/>
                    <a:gd name="T29" fmla="*/ 3 h 1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18" h="18">
                      <a:moveTo>
                        <a:pt x="18" y="6"/>
                      </a:moveTo>
                      <a:lnTo>
                        <a:pt x="12" y="12"/>
                      </a:lnTo>
                      <a:lnTo>
                        <a:pt x="6" y="12"/>
                      </a:lnTo>
                      <a:lnTo>
                        <a:pt x="6" y="18"/>
                      </a:lnTo>
                      <a:lnTo>
                        <a:pt x="6" y="12"/>
                      </a:lnTo>
                      <a:lnTo>
                        <a:pt x="6" y="18"/>
                      </a:lnTo>
                      <a:lnTo>
                        <a:pt x="6" y="12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lnTo>
                        <a:pt x="12" y="6"/>
                      </a:lnTo>
                      <a:lnTo>
                        <a:pt x="18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ZA"/>
                </a:p>
              </p:txBody>
            </p:sp>
            <p:sp>
              <p:nvSpPr>
                <p:cNvPr id="14438" name="Freeform 124"/>
                <p:cNvSpPr>
                  <a:spLocks noChangeAspect="1"/>
                </p:cNvSpPr>
                <p:nvPr>
                  <p:custDataLst>
                    <p:tags r:id="rId69"/>
                  </p:custDataLst>
                </p:nvPr>
              </p:nvSpPr>
              <p:spPr bwMode="auto">
                <a:xfrm>
                  <a:off x="1015" y="1734"/>
                  <a:ext cx="0" cy="5"/>
                </a:xfrm>
                <a:custGeom>
                  <a:avLst/>
                  <a:gdLst>
                    <a:gd name="T0" fmla="*/ 3 h 6"/>
                    <a:gd name="T1" fmla="*/ 0 h 6"/>
                    <a:gd name="T2" fmla="*/ 3 h 6"/>
                    <a:gd name="T3" fmla="*/ 0 60000 65536"/>
                    <a:gd name="T4" fmla="*/ 0 60000 65536"/>
                    <a:gd name="T5" fmla="*/ 0 60000 65536"/>
                  </a:gdLst>
                  <a:ahLst/>
                  <a:cxnLst>
                    <a:cxn ang="T3">
                      <a:pos x="0" y="T0"/>
                    </a:cxn>
                    <a:cxn ang="T4">
                      <a:pos x="0" y="T1"/>
                    </a:cxn>
                    <a:cxn ang="T5">
                      <a:pos x="0" y="T2"/>
                    </a:cxn>
                  </a:cxnLst>
                  <a:rect l="0" t="0" r="r" b="b"/>
                  <a:pathLst>
                    <a:path h="6">
                      <a:moveTo>
                        <a:pt x="0" y="6"/>
                      </a:moveTo>
                      <a:lnTo>
                        <a:pt x="0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ZA"/>
                </a:p>
              </p:txBody>
            </p:sp>
            <p:sp>
              <p:nvSpPr>
                <p:cNvPr id="14439" name="Freeform 125"/>
                <p:cNvSpPr>
                  <a:spLocks noChangeAspect="1"/>
                </p:cNvSpPr>
                <p:nvPr>
                  <p:custDataLst>
                    <p:tags r:id="rId70"/>
                  </p:custDataLst>
                </p:nvPr>
              </p:nvSpPr>
              <p:spPr bwMode="auto">
                <a:xfrm>
                  <a:off x="1025" y="1657"/>
                  <a:ext cx="20" cy="10"/>
                </a:xfrm>
                <a:custGeom>
                  <a:avLst/>
                  <a:gdLst>
                    <a:gd name="T0" fmla="*/ 3 w 24"/>
                    <a:gd name="T1" fmla="*/ 3 h 12"/>
                    <a:gd name="T2" fmla="*/ 4 w 24"/>
                    <a:gd name="T3" fmla="*/ 3 h 12"/>
                    <a:gd name="T4" fmla="*/ 7 w 24"/>
                    <a:gd name="T5" fmla="*/ 3 h 12"/>
                    <a:gd name="T6" fmla="*/ 8 w 24"/>
                    <a:gd name="T7" fmla="*/ 3 h 12"/>
                    <a:gd name="T8" fmla="*/ 8 w 24"/>
                    <a:gd name="T9" fmla="*/ 4 h 12"/>
                    <a:gd name="T10" fmla="*/ 7 w 24"/>
                    <a:gd name="T11" fmla="*/ 3 h 12"/>
                    <a:gd name="T12" fmla="*/ 7 w 24"/>
                    <a:gd name="T13" fmla="*/ 4 h 12"/>
                    <a:gd name="T14" fmla="*/ 7 w 24"/>
                    <a:gd name="T15" fmla="*/ 3 h 12"/>
                    <a:gd name="T16" fmla="*/ 4 w 24"/>
                    <a:gd name="T17" fmla="*/ 3 h 12"/>
                    <a:gd name="T18" fmla="*/ 4 w 24"/>
                    <a:gd name="T19" fmla="*/ 4 h 12"/>
                    <a:gd name="T20" fmla="*/ 3 w 24"/>
                    <a:gd name="T21" fmla="*/ 4 h 12"/>
                    <a:gd name="T22" fmla="*/ 3 w 24"/>
                    <a:gd name="T23" fmla="*/ 3 h 12"/>
                    <a:gd name="T24" fmla="*/ 0 w 24"/>
                    <a:gd name="T25" fmla="*/ 3 h 12"/>
                    <a:gd name="T26" fmla="*/ 3 w 24"/>
                    <a:gd name="T27" fmla="*/ 3 h 12"/>
                    <a:gd name="T28" fmla="*/ 3 w 24"/>
                    <a:gd name="T29" fmla="*/ 0 h 12"/>
                    <a:gd name="T30" fmla="*/ 3 w 24"/>
                    <a:gd name="T31" fmla="*/ 3 h 1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24" h="12">
                      <a:moveTo>
                        <a:pt x="6" y="6"/>
                      </a:moveTo>
                      <a:lnTo>
                        <a:pt x="12" y="6"/>
                      </a:lnTo>
                      <a:lnTo>
                        <a:pt x="18" y="6"/>
                      </a:lnTo>
                      <a:lnTo>
                        <a:pt x="24" y="6"/>
                      </a:lnTo>
                      <a:lnTo>
                        <a:pt x="24" y="12"/>
                      </a:lnTo>
                      <a:lnTo>
                        <a:pt x="18" y="6"/>
                      </a:lnTo>
                      <a:lnTo>
                        <a:pt x="18" y="12"/>
                      </a:lnTo>
                      <a:lnTo>
                        <a:pt x="18" y="6"/>
                      </a:lnTo>
                      <a:lnTo>
                        <a:pt x="12" y="6"/>
                      </a:lnTo>
                      <a:lnTo>
                        <a:pt x="12" y="12"/>
                      </a:lnTo>
                      <a:lnTo>
                        <a:pt x="6" y="12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ZA"/>
                </a:p>
              </p:txBody>
            </p:sp>
            <p:sp>
              <p:nvSpPr>
                <p:cNvPr id="14440" name="Freeform 126"/>
                <p:cNvSpPr>
                  <a:spLocks noChangeAspect="1"/>
                </p:cNvSpPr>
                <p:nvPr>
                  <p:custDataLst>
                    <p:tags r:id="rId71"/>
                  </p:custDataLst>
                </p:nvPr>
              </p:nvSpPr>
              <p:spPr bwMode="auto">
                <a:xfrm>
                  <a:off x="1086" y="1652"/>
                  <a:ext cx="5" cy="10"/>
                </a:xfrm>
                <a:custGeom>
                  <a:avLst/>
                  <a:gdLst>
                    <a:gd name="T0" fmla="*/ 3 w 6"/>
                    <a:gd name="T1" fmla="*/ 0 h 12"/>
                    <a:gd name="T2" fmla="*/ 3 w 6"/>
                    <a:gd name="T3" fmla="*/ 3 h 12"/>
                    <a:gd name="T4" fmla="*/ 3 w 6"/>
                    <a:gd name="T5" fmla="*/ 4 h 12"/>
                    <a:gd name="T6" fmla="*/ 3 w 6"/>
                    <a:gd name="T7" fmla="*/ 3 h 12"/>
                    <a:gd name="T8" fmla="*/ 0 w 6"/>
                    <a:gd name="T9" fmla="*/ 3 h 12"/>
                    <a:gd name="T10" fmla="*/ 0 w 6"/>
                    <a:gd name="T11" fmla="*/ 0 h 12"/>
                    <a:gd name="T12" fmla="*/ 3 w 6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12">
                      <a:moveTo>
                        <a:pt x="6" y="0"/>
                      </a:moveTo>
                      <a:lnTo>
                        <a:pt x="6" y="6"/>
                      </a:lnTo>
                      <a:lnTo>
                        <a:pt x="6" y="12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ZA"/>
                </a:p>
              </p:txBody>
            </p:sp>
            <p:sp>
              <p:nvSpPr>
                <p:cNvPr id="14441" name="Freeform 127"/>
                <p:cNvSpPr>
                  <a:spLocks noChangeAspect="1"/>
                </p:cNvSpPr>
                <p:nvPr>
                  <p:custDataLst>
                    <p:tags r:id="rId72"/>
                  </p:custDataLst>
                </p:nvPr>
              </p:nvSpPr>
              <p:spPr bwMode="auto">
                <a:xfrm>
                  <a:off x="1025" y="1728"/>
                  <a:ext cx="10" cy="11"/>
                </a:xfrm>
                <a:custGeom>
                  <a:avLst/>
                  <a:gdLst>
                    <a:gd name="T0" fmla="*/ 0 w 12"/>
                    <a:gd name="T1" fmla="*/ 0 h 12"/>
                    <a:gd name="T2" fmla="*/ 3 w 12"/>
                    <a:gd name="T3" fmla="*/ 0 h 12"/>
                    <a:gd name="T4" fmla="*/ 3 w 12"/>
                    <a:gd name="T5" fmla="*/ 6 h 12"/>
                    <a:gd name="T6" fmla="*/ 4 w 12"/>
                    <a:gd name="T7" fmla="*/ 6 h 12"/>
                    <a:gd name="T8" fmla="*/ 3 w 12"/>
                    <a:gd name="T9" fmla="*/ 6 h 12"/>
                    <a:gd name="T10" fmla="*/ 0 w 12"/>
                    <a:gd name="T11" fmla="*/ 6 h 12"/>
                    <a:gd name="T12" fmla="*/ 0 w 12"/>
                    <a:gd name="T13" fmla="*/ 6 h 12"/>
                    <a:gd name="T14" fmla="*/ 0 w 12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" h="12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6" y="12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E6B29">
                    <a:alpha val="70195"/>
                  </a:srgbClr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ZA"/>
                </a:p>
              </p:txBody>
            </p:sp>
            <p:sp>
              <p:nvSpPr>
                <p:cNvPr id="14442" name="Freeform 128"/>
                <p:cNvSpPr>
                  <a:spLocks noChangeAspect="1"/>
                </p:cNvSpPr>
                <p:nvPr>
                  <p:custDataLst>
                    <p:tags r:id="rId73"/>
                  </p:custDataLst>
                </p:nvPr>
              </p:nvSpPr>
              <p:spPr bwMode="auto">
                <a:xfrm>
                  <a:off x="1091" y="1677"/>
                  <a:ext cx="11" cy="11"/>
                </a:xfrm>
                <a:custGeom>
                  <a:avLst/>
                  <a:gdLst>
                    <a:gd name="T0" fmla="*/ 6 w 12"/>
                    <a:gd name="T1" fmla="*/ 0 h 12"/>
                    <a:gd name="T2" fmla="*/ 6 w 12"/>
                    <a:gd name="T3" fmla="*/ 0 h 12"/>
                    <a:gd name="T4" fmla="*/ 6 w 12"/>
                    <a:gd name="T5" fmla="*/ 6 h 12"/>
                    <a:gd name="T6" fmla="*/ 6 w 12"/>
                    <a:gd name="T7" fmla="*/ 6 h 12"/>
                    <a:gd name="T8" fmla="*/ 6 w 12"/>
                    <a:gd name="T9" fmla="*/ 6 h 12"/>
                    <a:gd name="T10" fmla="*/ 0 w 12"/>
                    <a:gd name="T11" fmla="*/ 6 h 12"/>
                    <a:gd name="T12" fmla="*/ 0 w 12"/>
                    <a:gd name="T13" fmla="*/ 6 h 12"/>
                    <a:gd name="T14" fmla="*/ 0 w 12"/>
                    <a:gd name="T15" fmla="*/ 0 h 12"/>
                    <a:gd name="T16" fmla="*/ 6 w 12"/>
                    <a:gd name="T17" fmla="*/ 0 h 1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2" h="12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2" y="6"/>
                      </a:lnTo>
                      <a:lnTo>
                        <a:pt x="12" y="12"/>
                      </a:lnTo>
                      <a:lnTo>
                        <a:pt x="6" y="12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ZA"/>
                </a:p>
              </p:txBody>
            </p:sp>
          </p:grpSp>
        </p:grpSp>
        <p:sp>
          <p:nvSpPr>
            <p:cNvPr id="14414" name="Freeform 129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auto">
            <a:xfrm>
              <a:off x="4669" y="1664"/>
              <a:ext cx="171" cy="184"/>
            </a:xfrm>
            <a:custGeom>
              <a:avLst/>
              <a:gdLst>
                <a:gd name="T0" fmla="*/ 4 w 276"/>
                <a:gd name="T1" fmla="*/ 2 h 282"/>
                <a:gd name="T2" fmla="*/ 4 w 276"/>
                <a:gd name="T3" fmla="*/ 1 h 282"/>
                <a:gd name="T4" fmla="*/ 6 w 276"/>
                <a:gd name="T5" fmla="*/ 2 h 282"/>
                <a:gd name="T6" fmla="*/ 7 w 276"/>
                <a:gd name="T7" fmla="*/ 1 h 282"/>
                <a:gd name="T8" fmla="*/ 7 w 276"/>
                <a:gd name="T9" fmla="*/ 2 h 282"/>
                <a:gd name="T10" fmla="*/ 8 w 276"/>
                <a:gd name="T11" fmla="*/ 2 h 282"/>
                <a:gd name="T12" fmla="*/ 10 w 276"/>
                <a:gd name="T13" fmla="*/ 1 h 282"/>
                <a:gd name="T14" fmla="*/ 12 w 276"/>
                <a:gd name="T15" fmla="*/ 1 h 282"/>
                <a:gd name="T16" fmla="*/ 12 w 276"/>
                <a:gd name="T17" fmla="*/ 1 h 282"/>
                <a:gd name="T18" fmla="*/ 14 w 276"/>
                <a:gd name="T19" fmla="*/ 1 h 282"/>
                <a:gd name="T20" fmla="*/ 14 w 276"/>
                <a:gd name="T21" fmla="*/ 1 h 282"/>
                <a:gd name="T22" fmla="*/ 14 w 276"/>
                <a:gd name="T23" fmla="*/ 2 h 282"/>
                <a:gd name="T24" fmla="*/ 14 w 276"/>
                <a:gd name="T25" fmla="*/ 2 h 282"/>
                <a:gd name="T26" fmla="*/ 14 w 276"/>
                <a:gd name="T27" fmla="*/ 3 h 282"/>
                <a:gd name="T28" fmla="*/ 14 w 276"/>
                <a:gd name="T29" fmla="*/ 3 h 282"/>
                <a:gd name="T30" fmla="*/ 14 w 276"/>
                <a:gd name="T31" fmla="*/ 5 h 282"/>
                <a:gd name="T32" fmla="*/ 15 w 276"/>
                <a:gd name="T33" fmla="*/ 5 h 282"/>
                <a:gd name="T34" fmla="*/ 15 w 276"/>
                <a:gd name="T35" fmla="*/ 7 h 282"/>
                <a:gd name="T36" fmla="*/ 15 w 276"/>
                <a:gd name="T37" fmla="*/ 8 h 282"/>
                <a:gd name="T38" fmla="*/ 15 w 276"/>
                <a:gd name="T39" fmla="*/ 10 h 282"/>
                <a:gd name="T40" fmla="*/ 15 w 276"/>
                <a:gd name="T41" fmla="*/ 10 h 282"/>
                <a:gd name="T42" fmla="*/ 15 w 276"/>
                <a:gd name="T43" fmla="*/ 11 h 282"/>
                <a:gd name="T44" fmla="*/ 14 w 276"/>
                <a:gd name="T45" fmla="*/ 12 h 282"/>
                <a:gd name="T46" fmla="*/ 14 w 276"/>
                <a:gd name="T47" fmla="*/ 13 h 282"/>
                <a:gd name="T48" fmla="*/ 14 w 276"/>
                <a:gd name="T49" fmla="*/ 13 h 282"/>
                <a:gd name="T50" fmla="*/ 12 w 276"/>
                <a:gd name="T51" fmla="*/ 15 h 282"/>
                <a:gd name="T52" fmla="*/ 12 w 276"/>
                <a:gd name="T53" fmla="*/ 16 h 282"/>
                <a:gd name="T54" fmla="*/ 12 w 276"/>
                <a:gd name="T55" fmla="*/ 18 h 282"/>
                <a:gd name="T56" fmla="*/ 6 w 276"/>
                <a:gd name="T57" fmla="*/ 20 h 282"/>
                <a:gd name="T58" fmla="*/ 4 w 276"/>
                <a:gd name="T59" fmla="*/ 20 h 282"/>
                <a:gd name="T60" fmla="*/ 2 w 276"/>
                <a:gd name="T61" fmla="*/ 20 h 282"/>
                <a:gd name="T62" fmla="*/ 2 w 276"/>
                <a:gd name="T63" fmla="*/ 20 h 282"/>
                <a:gd name="T64" fmla="*/ 1 w 276"/>
                <a:gd name="T65" fmla="*/ 22 h 282"/>
                <a:gd name="T66" fmla="*/ 1 w 276"/>
                <a:gd name="T67" fmla="*/ 22 h 282"/>
                <a:gd name="T68" fmla="*/ 1 w 276"/>
                <a:gd name="T69" fmla="*/ 21 h 282"/>
                <a:gd name="T70" fmla="*/ 1 w 276"/>
                <a:gd name="T71" fmla="*/ 21 h 282"/>
                <a:gd name="T72" fmla="*/ 0 w 276"/>
                <a:gd name="T73" fmla="*/ 20 h 282"/>
                <a:gd name="T74" fmla="*/ 1 w 276"/>
                <a:gd name="T75" fmla="*/ 20 h 282"/>
                <a:gd name="T76" fmla="*/ 1 w 276"/>
                <a:gd name="T77" fmla="*/ 18 h 282"/>
                <a:gd name="T78" fmla="*/ 1 w 276"/>
                <a:gd name="T79" fmla="*/ 16 h 282"/>
                <a:gd name="T80" fmla="*/ 1 w 276"/>
                <a:gd name="T81" fmla="*/ 15 h 282"/>
                <a:gd name="T82" fmla="*/ 1 w 276"/>
                <a:gd name="T83" fmla="*/ 13 h 282"/>
                <a:gd name="T84" fmla="*/ 1 w 276"/>
                <a:gd name="T85" fmla="*/ 12 h 282"/>
                <a:gd name="T86" fmla="*/ 2 w 276"/>
                <a:gd name="T87" fmla="*/ 12 h 282"/>
                <a:gd name="T88" fmla="*/ 4 w 276"/>
                <a:gd name="T89" fmla="*/ 10 h 282"/>
                <a:gd name="T90" fmla="*/ 4 w 276"/>
                <a:gd name="T91" fmla="*/ 8 h 282"/>
                <a:gd name="T92" fmla="*/ 4 w 276"/>
                <a:gd name="T93" fmla="*/ 8 h 282"/>
                <a:gd name="T94" fmla="*/ 4 w 276"/>
                <a:gd name="T95" fmla="*/ 7 h 282"/>
                <a:gd name="T96" fmla="*/ 4 w 276"/>
                <a:gd name="T97" fmla="*/ 6 h 282"/>
                <a:gd name="T98" fmla="*/ 4 w 276"/>
                <a:gd name="T99" fmla="*/ 5 h 282"/>
                <a:gd name="T100" fmla="*/ 4 w 276"/>
                <a:gd name="T101" fmla="*/ 3 h 282"/>
                <a:gd name="T102" fmla="*/ 4 w 276"/>
                <a:gd name="T103" fmla="*/ 3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76" h="282">
                  <a:moveTo>
                    <a:pt x="66" y="36"/>
                  </a:moveTo>
                  <a:lnTo>
                    <a:pt x="66" y="30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0" y="30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44" y="24"/>
                  </a:lnTo>
                  <a:lnTo>
                    <a:pt x="156" y="18"/>
                  </a:lnTo>
                  <a:lnTo>
                    <a:pt x="168" y="18"/>
                  </a:lnTo>
                  <a:lnTo>
                    <a:pt x="174" y="12"/>
                  </a:lnTo>
                  <a:lnTo>
                    <a:pt x="180" y="18"/>
                  </a:lnTo>
                  <a:lnTo>
                    <a:pt x="198" y="24"/>
                  </a:lnTo>
                  <a:lnTo>
                    <a:pt x="210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46" y="30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0" y="42"/>
                  </a:lnTo>
                  <a:lnTo>
                    <a:pt x="246" y="42"/>
                  </a:lnTo>
                  <a:lnTo>
                    <a:pt x="246" y="48"/>
                  </a:lnTo>
                  <a:lnTo>
                    <a:pt x="246" y="54"/>
                  </a:lnTo>
                  <a:lnTo>
                    <a:pt x="252" y="54"/>
                  </a:lnTo>
                  <a:lnTo>
                    <a:pt x="252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76" y="114"/>
                  </a:lnTo>
                  <a:lnTo>
                    <a:pt x="270" y="126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64" y="144"/>
                  </a:lnTo>
                  <a:lnTo>
                    <a:pt x="258" y="144"/>
                  </a:lnTo>
                  <a:lnTo>
                    <a:pt x="258" y="150"/>
                  </a:lnTo>
                  <a:lnTo>
                    <a:pt x="252" y="150"/>
                  </a:lnTo>
                  <a:lnTo>
                    <a:pt x="246" y="150"/>
                  </a:lnTo>
                  <a:lnTo>
                    <a:pt x="246" y="156"/>
                  </a:lnTo>
                  <a:lnTo>
                    <a:pt x="246" y="162"/>
                  </a:lnTo>
                  <a:lnTo>
                    <a:pt x="246" y="168"/>
                  </a:lnTo>
                  <a:lnTo>
                    <a:pt x="240" y="168"/>
                  </a:lnTo>
                  <a:lnTo>
                    <a:pt x="240" y="174"/>
                  </a:lnTo>
                  <a:lnTo>
                    <a:pt x="234" y="174"/>
                  </a:lnTo>
                  <a:lnTo>
                    <a:pt x="228" y="180"/>
                  </a:lnTo>
                  <a:lnTo>
                    <a:pt x="228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204"/>
                  </a:lnTo>
                  <a:lnTo>
                    <a:pt x="222" y="204"/>
                  </a:lnTo>
                  <a:lnTo>
                    <a:pt x="222" y="216"/>
                  </a:lnTo>
                  <a:lnTo>
                    <a:pt x="222" y="222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16" y="258"/>
                  </a:lnTo>
                  <a:lnTo>
                    <a:pt x="102" y="258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70"/>
                  </a:lnTo>
                  <a:lnTo>
                    <a:pt x="30" y="270"/>
                  </a:lnTo>
                  <a:lnTo>
                    <a:pt x="30" y="276"/>
                  </a:lnTo>
                  <a:lnTo>
                    <a:pt x="24" y="276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12" y="270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60" y="132"/>
                  </a:lnTo>
                  <a:lnTo>
                    <a:pt x="72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0" y="102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6"/>
                  </a:lnTo>
                  <a:lnTo>
                    <a:pt x="66" y="36"/>
                  </a:lnTo>
                  <a:close/>
                </a:path>
              </a:pathLst>
            </a:custGeom>
            <a:solidFill>
              <a:srgbClr val="D5CB99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15" name="Freeform 130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auto">
            <a:xfrm>
              <a:off x="4803" y="1638"/>
              <a:ext cx="244" cy="310"/>
            </a:xfrm>
            <a:custGeom>
              <a:avLst/>
              <a:gdLst>
                <a:gd name="T0" fmla="*/ 1 w 396"/>
                <a:gd name="T1" fmla="*/ 1 h 480"/>
                <a:gd name="T2" fmla="*/ 2 w 396"/>
                <a:gd name="T3" fmla="*/ 1 h 480"/>
                <a:gd name="T4" fmla="*/ 4 w 396"/>
                <a:gd name="T5" fmla="*/ 0 h 480"/>
                <a:gd name="T6" fmla="*/ 4 w 396"/>
                <a:gd name="T7" fmla="*/ 1 h 480"/>
                <a:gd name="T8" fmla="*/ 6 w 396"/>
                <a:gd name="T9" fmla="*/ 2 h 480"/>
                <a:gd name="T10" fmla="*/ 7 w 396"/>
                <a:gd name="T11" fmla="*/ 2 h 480"/>
                <a:gd name="T12" fmla="*/ 9 w 396"/>
                <a:gd name="T13" fmla="*/ 3 h 480"/>
                <a:gd name="T14" fmla="*/ 11 w 396"/>
                <a:gd name="T15" fmla="*/ 5 h 480"/>
                <a:gd name="T16" fmla="*/ 12 w 396"/>
                <a:gd name="T17" fmla="*/ 5 h 480"/>
                <a:gd name="T18" fmla="*/ 14 w 396"/>
                <a:gd name="T19" fmla="*/ 5 h 480"/>
                <a:gd name="T20" fmla="*/ 14 w 396"/>
                <a:gd name="T21" fmla="*/ 6 h 480"/>
                <a:gd name="T22" fmla="*/ 16 w 396"/>
                <a:gd name="T23" fmla="*/ 5 h 480"/>
                <a:gd name="T24" fmla="*/ 17 w 396"/>
                <a:gd name="T25" fmla="*/ 3 h 480"/>
                <a:gd name="T26" fmla="*/ 18 w 396"/>
                <a:gd name="T27" fmla="*/ 3 h 480"/>
                <a:gd name="T28" fmla="*/ 19 w 396"/>
                <a:gd name="T29" fmla="*/ 3 h 480"/>
                <a:gd name="T30" fmla="*/ 20 w 396"/>
                <a:gd name="T31" fmla="*/ 4 h 480"/>
                <a:gd name="T32" fmla="*/ 22 w 396"/>
                <a:gd name="T33" fmla="*/ 4 h 480"/>
                <a:gd name="T34" fmla="*/ 19 w 396"/>
                <a:gd name="T35" fmla="*/ 8 h 480"/>
                <a:gd name="T36" fmla="*/ 19 w 396"/>
                <a:gd name="T37" fmla="*/ 18 h 480"/>
                <a:gd name="T38" fmla="*/ 21 w 396"/>
                <a:gd name="T39" fmla="*/ 24 h 480"/>
                <a:gd name="T40" fmla="*/ 20 w 396"/>
                <a:gd name="T41" fmla="*/ 25 h 480"/>
                <a:gd name="T42" fmla="*/ 20 w 396"/>
                <a:gd name="T43" fmla="*/ 25 h 480"/>
                <a:gd name="T44" fmla="*/ 19 w 396"/>
                <a:gd name="T45" fmla="*/ 25 h 480"/>
                <a:gd name="T46" fmla="*/ 19 w 396"/>
                <a:gd name="T47" fmla="*/ 26 h 480"/>
                <a:gd name="T48" fmla="*/ 19 w 396"/>
                <a:gd name="T49" fmla="*/ 26 h 480"/>
                <a:gd name="T50" fmla="*/ 19 w 396"/>
                <a:gd name="T51" fmla="*/ 26 h 480"/>
                <a:gd name="T52" fmla="*/ 18 w 396"/>
                <a:gd name="T53" fmla="*/ 26 h 480"/>
                <a:gd name="T54" fmla="*/ 19 w 396"/>
                <a:gd name="T55" fmla="*/ 26 h 480"/>
                <a:gd name="T56" fmla="*/ 18 w 396"/>
                <a:gd name="T57" fmla="*/ 28 h 480"/>
                <a:gd name="T58" fmla="*/ 17 w 396"/>
                <a:gd name="T59" fmla="*/ 28 h 480"/>
                <a:gd name="T60" fmla="*/ 17 w 396"/>
                <a:gd name="T61" fmla="*/ 29 h 480"/>
                <a:gd name="T62" fmla="*/ 17 w 396"/>
                <a:gd name="T63" fmla="*/ 30 h 480"/>
                <a:gd name="T64" fmla="*/ 17 w 396"/>
                <a:gd name="T65" fmla="*/ 30 h 480"/>
                <a:gd name="T66" fmla="*/ 16 w 396"/>
                <a:gd name="T67" fmla="*/ 31 h 480"/>
                <a:gd name="T68" fmla="*/ 16 w 396"/>
                <a:gd name="T69" fmla="*/ 31 h 480"/>
                <a:gd name="T70" fmla="*/ 16 w 396"/>
                <a:gd name="T71" fmla="*/ 32 h 480"/>
                <a:gd name="T72" fmla="*/ 15 w 396"/>
                <a:gd name="T73" fmla="*/ 32 h 480"/>
                <a:gd name="T74" fmla="*/ 15 w 396"/>
                <a:gd name="T75" fmla="*/ 34 h 480"/>
                <a:gd name="T76" fmla="*/ 15 w 396"/>
                <a:gd name="T77" fmla="*/ 35 h 480"/>
                <a:gd name="T78" fmla="*/ 15 w 396"/>
                <a:gd name="T79" fmla="*/ 35 h 480"/>
                <a:gd name="T80" fmla="*/ 15 w 396"/>
                <a:gd name="T81" fmla="*/ 35 h 480"/>
                <a:gd name="T82" fmla="*/ 11 w 396"/>
                <a:gd name="T83" fmla="*/ 32 h 480"/>
                <a:gd name="T84" fmla="*/ 10 w 396"/>
                <a:gd name="T85" fmla="*/ 30 h 480"/>
                <a:gd name="T86" fmla="*/ 10 w 396"/>
                <a:gd name="T87" fmla="*/ 29 h 480"/>
                <a:gd name="T88" fmla="*/ 6 w 396"/>
                <a:gd name="T89" fmla="*/ 25 h 480"/>
                <a:gd name="T90" fmla="*/ 0 w 396"/>
                <a:gd name="T91" fmla="*/ 22 h 480"/>
                <a:gd name="T92" fmla="*/ 1 w 396"/>
                <a:gd name="T93" fmla="*/ 19 h 480"/>
                <a:gd name="T94" fmla="*/ 1 w 396"/>
                <a:gd name="T95" fmla="*/ 17 h 480"/>
                <a:gd name="T96" fmla="*/ 1 w 396"/>
                <a:gd name="T97" fmla="*/ 16 h 480"/>
                <a:gd name="T98" fmla="*/ 1 w 396"/>
                <a:gd name="T99" fmla="*/ 15 h 480"/>
                <a:gd name="T100" fmla="*/ 2 w 396"/>
                <a:gd name="T101" fmla="*/ 14 h 480"/>
                <a:gd name="T102" fmla="*/ 2 w 396"/>
                <a:gd name="T103" fmla="*/ 13 h 480"/>
                <a:gd name="T104" fmla="*/ 4 w 396"/>
                <a:gd name="T105" fmla="*/ 11 h 480"/>
                <a:gd name="T106" fmla="*/ 2 w 396"/>
                <a:gd name="T107" fmla="*/ 9 h 480"/>
                <a:gd name="T108" fmla="*/ 2 w 396"/>
                <a:gd name="T109" fmla="*/ 8 h 480"/>
                <a:gd name="T110" fmla="*/ 1 w 396"/>
                <a:gd name="T111" fmla="*/ 6 h 480"/>
                <a:gd name="T112" fmla="*/ 1 w 396"/>
                <a:gd name="T113" fmla="*/ 6 h 480"/>
                <a:gd name="T114" fmla="*/ 1 w 396"/>
                <a:gd name="T115" fmla="*/ 5 h 480"/>
                <a:gd name="T116" fmla="*/ 1 w 396"/>
                <a:gd name="T117" fmla="*/ 4 h 480"/>
                <a:gd name="T118" fmla="*/ 1 w 396"/>
                <a:gd name="T119" fmla="*/ 4 h 480"/>
                <a:gd name="T120" fmla="*/ 1 w 396"/>
                <a:gd name="T121" fmla="*/ 3 h 4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96" h="480">
                  <a:moveTo>
                    <a:pt x="6" y="42"/>
                  </a:moveTo>
                  <a:lnTo>
                    <a:pt x="6" y="36"/>
                  </a:lnTo>
                  <a:lnTo>
                    <a:pt x="18" y="24"/>
                  </a:lnTo>
                  <a:lnTo>
                    <a:pt x="24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8" y="30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32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56" y="36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6" y="54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8" y="72"/>
                  </a:lnTo>
                  <a:lnTo>
                    <a:pt x="234" y="66"/>
                  </a:lnTo>
                  <a:lnTo>
                    <a:pt x="234" y="72"/>
                  </a:lnTo>
                  <a:lnTo>
                    <a:pt x="240" y="72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58" y="72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2" y="78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300" y="60"/>
                  </a:lnTo>
                  <a:lnTo>
                    <a:pt x="300" y="54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6" y="42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4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90" y="54"/>
                  </a:lnTo>
                  <a:lnTo>
                    <a:pt x="396" y="54"/>
                  </a:lnTo>
                  <a:lnTo>
                    <a:pt x="390" y="66"/>
                  </a:lnTo>
                  <a:lnTo>
                    <a:pt x="372" y="90"/>
                  </a:lnTo>
                  <a:lnTo>
                    <a:pt x="354" y="108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54" y="270"/>
                  </a:lnTo>
                  <a:lnTo>
                    <a:pt x="354" y="288"/>
                  </a:lnTo>
                  <a:lnTo>
                    <a:pt x="384" y="330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2" y="348"/>
                  </a:lnTo>
                  <a:lnTo>
                    <a:pt x="366" y="348"/>
                  </a:lnTo>
                  <a:lnTo>
                    <a:pt x="366" y="342"/>
                  </a:lnTo>
                  <a:lnTo>
                    <a:pt x="366" y="348"/>
                  </a:lnTo>
                  <a:lnTo>
                    <a:pt x="360" y="348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42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54" y="366"/>
                  </a:lnTo>
                  <a:lnTo>
                    <a:pt x="354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8" y="366"/>
                  </a:lnTo>
                  <a:lnTo>
                    <a:pt x="342" y="372"/>
                  </a:lnTo>
                  <a:lnTo>
                    <a:pt x="336" y="378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78"/>
                  </a:lnTo>
                  <a:lnTo>
                    <a:pt x="318" y="384"/>
                  </a:lnTo>
                  <a:lnTo>
                    <a:pt x="312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18" y="396"/>
                  </a:lnTo>
                  <a:lnTo>
                    <a:pt x="312" y="396"/>
                  </a:lnTo>
                  <a:lnTo>
                    <a:pt x="312" y="402"/>
                  </a:lnTo>
                  <a:lnTo>
                    <a:pt x="312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14"/>
                  </a:lnTo>
                  <a:lnTo>
                    <a:pt x="300" y="414"/>
                  </a:lnTo>
                  <a:lnTo>
                    <a:pt x="306" y="414"/>
                  </a:lnTo>
                  <a:lnTo>
                    <a:pt x="300" y="420"/>
                  </a:lnTo>
                  <a:lnTo>
                    <a:pt x="306" y="420"/>
                  </a:lnTo>
                  <a:lnTo>
                    <a:pt x="300" y="420"/>
                  </a:lnTo>
                  <a:lnTo>
                    <a:pt x="300" y="426"/>
                  </a:lnTo>
                  <a:lnTo>
                    <a:pt x="300" y="432"/>
                  </a:lnTo>
                  <a:lnTo>
                    <a:pt x="294" y="426"/>
                  </a:lnTo>
                  <a:lnTo>
                    <a:pt x="294" y="432"/>
                  </a:lnTo>
                  <a:lnTo>
                    <a:pt x="300" y="432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88" y="444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62"/>
                  </a:lnTo>
                  <a:lnTo>
                    <a:pt x="282" y="462"/>
                  </a:lnTo>
                  <a:lnTo>
                    <a:pt x="282" y="468"/>
                  </a:lnTo>
                  <a:lnTo>
                    <a:pt x="282" y="474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64" y="480"/>
                  </a:lnTo>
                  <a:lnTo>
                    <a:pt x="240" y="462"/>
                  </a:lnTo>
                  <a:lnTo>
                    <a:pt x="228" y="456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26"/>
                  </a:lnTo>
                  <a:lnTo>
                    <a:pt x="186" y="420"/>
                  </a:lnTo>
                  <a:lnTo>
                    <a:pt x="192" y="414"/>
                  </a:lnTo>
                  <a:lnTo>
                    <a:pt x="192" y="402"/>
                  </a:lnTo>
                  <a:lnTo>
                    <a:pt x="186" y="396"/>
                  </a:lnTo>
                  <a:lnTo>
                    <a:pt x="180" y="396"/>
                  </a:lnTo>
                  <a:lnTo>
                    <a:pt x="156" y="384"/>
                  </a:lnTo>
                  <a:lnTo>
                    <a:pt x="138" y="372"/>
                  </a:lnTo>
                  <a:lnTo>
                    <a:pt x="120" y="360"/>
                  </a:lnTo>
                  <a:lnTo>
                    <a:pt x="96" y="348"/>
                  </a:lnTo>
                  <a:lnTo>
                    <a:pt x="60" y="330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0" y="282"/>
                  </a:lnTo>
                  <a:lnTo>
                    <a:pt x="0" y="270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18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60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42"/>
                  </a:lnTo>
                  <a:close/>
                </a:path>
              </a:pathLst>
            </a:custGeom>
            <a:solidFill>
              <a:srgbClr val="D5CB99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16" name="Freeform 131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auto">
            <a:xfrm>
              <a:off x="4655" y="1874"/>
              <a:ext cx="57" cy="71"/>
            </a:xfrm>
            <a:custGeom>
              <a:avLst/>
              <a:gdLst>
                <a:gd name="T0" fmla="*/ 0 w 90"/>
                <a:gd name="T1" fmla="*/ 1 h 108"/>
                <a:gd name="T2" fmla="*/ 1 w 90"/>
                <a:gd name="T3" fmla="*/ 1 h 108"/>
                <a:gd name="T4" fmla="*/ 1 w 90"/>
                <a:gd name="T5" fmla="*/ 1 h 108"/>
                <a:gd name="T6" fmla="*/ 1 w 90"/>
                <a:gd name="T7" fmla="*/ 2 h 108"/>
                <a:gd name="T8" fmla="*/ 2 w 90"/>
                <a:gd name="T9" fmla="*/ 2 h 108"/>
                <a:gd name="T10" fmla="*/ 3 w 90"/>
                <a:gd name="T11" fmla="*/ 1 h 108"/>
                <a:gd name="T12" fmla="*/ 3 w 90"/>
                <a:gd name="T13" fmla="*/ 2 h 108"/>
                <a:gd name="T14" fmla="*/ 3 w 90"/>
                <a:gd name="T15" fmla="*/ 1 h 108"/>
                <a:gd name="T16" fmla="*/ 3 w 90"/>
                <a:gd name="T17" fmla="*/ 1 h 108"/>
                <a:gd name="T18" fmla="*/ 4 w 90"/>
                <a:gd name="T19" fmla="*/ 1 h 108"/>
                <a:gd name="T20" fmla="*/ 4 w 90"/>
                <a:gd name="T21" fmla="*/ 0 h 108"/>
                <a:gd name="T22" fmla="*/ 5 w 90"/>
                <a:gd name="T23" fmla="*/ 0 h 108"/>
                <a:gd name="T24" fmla="*/ 4 w 90"/>
                <a:gd name="T25" fmla="*/ 1 h 108"/>
                <a:gd name="T26" fmla="*/ 4 w 90"/>
                <a:gd name="T27" fmla="*/ 1 h 108"/>
                <a:gd name="T28" fmla="*/ 4 w 90"/>
                <a:gd name="T29" fmla="*/ 2 h 108"/>
                <a:gd name="T30" fmla="*/ 4 w 90"/>
                <a:gd name="T31" fmla="*/ 2 h 108"/>
                <a:gd name="T32" fmla="*/ 5 w 90"/>
                <a:gd name="T33" fmla="*/ 3 h 108"/>
                <a:gd name="T34" fmla="*/ 6 w 90"/>
                <a:gd name="T35" fmla="*/ 3 h 108"/>
                <a:gd name="T36" fmla="*/ 6 w 90"/>
                <a:gd name="T37" fmla="*/ 3 h 108"/>
                <a:gd name="T38" fmla="*/ 6 w 90"/>
                <a:gd name="T39" fmla="*/ 4 h 108"/>
                <a:gd name="T40" fmla="*/ 5 w 90"/>
                <a:gd name="T41" fmla="*/ 5 h 108"/>
                <a:gd name="T42" fmla="*/ 5 w 90"/>
                <a:gd name="T43" fmla="*/ 5 h 108"/>
                <a:gd name="T44" fmla="*/ 4 w 90"/>
                <a:gd name="T45" fmla="*/ 5 h 108"/>
                <a:gd name="T46" fmla="*/ 4 w 90"/>
                <a:gd name="T47" fmla="*/ 6 h 108"/>
                <a:gd name="T48" fmla="*/ 4 w 90"/>
                <a:gd name="T49" fmla="*/ 7 h 108"/>
                <a:gd name="T50" fmla="*/ 4 w 90"/>
                <a:gd name="T51" fmla="*/ 7 h 108"/>
                <a:gd name="T52" fmla="*/ 3 w 90"/>
                <a:gd name="T53" fmla="*/ 8 h 108"/>
                <a:gd name="T54" fmla="*/ 3 w 90"/>
                <a:gd name="T55" fmla="*/ 8 h 108"/>
                <a:gd name="T56" fmla="*/ 3 w 90"/>
                <a:gd name="T57" fmla="*/ 9 h 108"/>
                <a:gd name="T58" fmla="*/ 2 w 90"/>
                <a:gd name="T59" fmla="*/ 8 h 108"/>
                <a:gd name="T60" fmla="*/ 1 w 90"/>
                <a:gd name="T61" fmla="*/ 7 h 108"/>
                <a:gd name="T62" fmla="*/ 1 w 90"/>
                <a:gd name="T63" fmla="*/ 7 h 108"/>
                <a:gd name="T64" fmla="*/ 1 w 90"/>
                <a:gd name="T65" fmla="*/ 6 h 108"/>
                <a:gd name="T66" fmla="*/ 1 w 90"/>
                <a:gd name="T67" fmla="*/ 5 h 108"/>
                <a:gd name="T68" fmla="*/ 1 w 90"/>
                <a:gd name="T69" fmla="*/ 4 h 108"/>
                <a:gd name="T70" fmla="*/ 1 w 90"/>
                <a:gd name="T71" fmla="*/ 3 h 108"/>
                <a:gd name="T72" fmla="*/ 1 w 90"/>
                <a:gd name="T73" fmla="*/ 3 h 108"/>
                <a:gd name="T74" fmla="*/ 1 w 90"/>
                <a:gd name="T75" fmla="*/ 3 h 108"/>
                <a:gd name="T76" fmla="*/ 1 w 90"/>
                <a:gd name="T77" fmla="*/ 3 h 108"/>
                <a:gd name="T78" fmla="*/ 1 w 90"/>
                <a:gd name="T79" fmla="*/ 3 h 108"/>
                <a:gd name="T80" fmla="*/ 0 w 90"/>
                <a:gd name="T81" fmla="*/ 2 h 1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90" h="108">
                  <a:moveTo>
                    <a:pt x="0" y="18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0" y="102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5CB99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17" name="Freeform 132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auto">
            <a:xfrm>
              <a:off x="4652" y="1831"/>
              <a:ext cx="60" cy="60"/>
            </a:xfrm>
            <a:custGeom>
              <a:avLst/>
              <a:gdLst>
                <a:gd name="T0" fmla="*/ 3 w 96"/>
                <a:gd name="T1" fmla="*/ 1 h 90"/>
                <a:gd name="T2" fmla="*/ 3 w 96"/>
                <a:gd name="T3" fmla="*/ 1 h 90"/>
                <a:gd name="T4" fmla="*/ 3 w 96"/>
                <a:gd name="T5" fmla="*/ 2 h 90"/>
                <a:gd name="T6" fmla="*/ 3 w 96"/>
                <a:gd name="T7" fmla="*/ 1 h 90"/>
                <a:gd name="T8" fmla="*/ 4 w 96"/>
                <a:gd name="T9" fmla="*/ 1 h 90"/>
                <a:gd name="T10" fmla="*/ 4 w 96"/>
                <a:gd name="T11" fmla="*/ 1 h 90"/>
                <a:gd name="T12" fmla="*/ 4 w 96"/>
                <a:gd name="T13" fmla="*/ 0 h 90"/>
                <a:gd name="T14" fmla="*/ 5 w 96"/>
                <a:gd name="T15" fmla="*/ 1 h 90"/>
                <a:gd name="T16" fmla="*/ 5 w 96"/>
                <a:gd name="T17" fmla="*/ 1 h 90"/>
                <a:gd name="T18" fmla="*/ 6 w 96"/>
                <a:gd name="T19" fmla="*/ 1 h 90"/>
                <a:gd name="T20" fmla="*/ 6 w 96"/>
                <a:gd name="T21" fmla="*/ 3 h 90"/>
                <a:gd name="T22" fmla="*/ 6 w 96"/>
                <a:gd name="T23" fmla="*/ 4 h 90"/>
                <a:gd name="T24" fmla="*/ 6 w 96"/>
                <a:gd name="T25" fmla="*/ 4 h 90"/>
                <a:gd name="T26" fmla="*/ 6 w 96"/>
                <a:gd name="T27" fmla="*/ 5 h 90"/>
                <a:gd name="T28" fmla="*/ 6 w 96"/>
                <a:gd name="T29" fmla="*/ 6 h 90"/>
                <a:gd name="T30" fmla="*/ 5 w 96"/>
                <a:gd name="T31" fmla="*/ 6 h 90"/>
                <a:gd name="T32" fmla="*/ 5 w 96"/>
                <a:gd name="T33" fmla="*/ 6 h 90"/>
                <a:gd name="T34" fmla="*/ 5 w 96"/>
                <a:gd name="T35" fmla="*/ 6 h 90"/>
                <a:gd name="T36" fmla="*/ 4 w 96"/>
                <a:gd name="T37" fmla="*/ 6 h 90"/>
                <a:gd name="T38" fmla="*/ 3 w 96"/>
                <a:gd name="T39" fmla="*/ 6 h 90"/>
                <a:gd name="T40" fmla="*/ 3 w 96"/>
                <a:gd name="T41" fmla="*/ 6 h 90"/>
                <a:gd name="T42" fmla="*/ 3 w 96"/>
                <a:gd name="T43" fmla="*/ 7 h 90"/>
                <a:gd name="T44" fmla="*/ 3 w 96"/>
                <a:gd name="T45" fmla="*/ 8 h 90"/>
                <a:gd name="T46" fmla="*/ 3 w 96"/>
                <a:gd name="T47" fmla="*/ 8 h 90"/>
                <a:gd name="T48" fmla="*/ 2 w 96"/>
                <a:gd name="T49" fmla="*/ 8 h 90"/>
                <a:gd name="T50" fmla="*/ 1 w 96"/>
                <a:gd name="T51" fmla="*/ 7 h 90"/>
                <a:gd name="T52" fmla="*/ 1 w 96"/>
                <a:gd name="T53" fmla="*/ 7 h 90"/>
                <a:gd name="T54" fmla="*/ 1 w 96"/>
                <a:gd name="T55" fmla="*/ 7 h 90"/>
                <a:gd name="T56" fmla="*/ 1 w 96"/>
                <a:gd name="T57" fmla="*/ 7 h 90"/>
                <a:gd name="T58" fmla="*/ 0 w 96"/>
                <a:gd name="T59" fmla="*/ 7 h 90"/>
                <a:gd name="T60" fmla="*/ 0 w 96"/>
                <a:gd name="T61" fmla="*/ 6 h 90"/>
                <a:gd name="T62" fmla="*/ 1 w 96"/>
                <a:gd name="T63" fmla="*/ 5 h 90"/>
                <a:gd name="T64" fmla="*/ 1 w 96"/>
                <a:gd name="T65" fmla="*/ 5 h 90"/>
                <a:gd name="T66" fmla="*/ 1 w 96"/>
                <a:gd name="T67" fmla="*/ 4 h 90"/>
                <a:gd name="T68" fmla="*/ 1 w 96"/>
                <a:gd name="T69" fmla="*/ 3 h 90"/>
                <a:gd name="T70" fmla="*/ 1 w 96"/>
                <a:gd name="T71" fmla="*/ 2 h 90"/>
                <a:gd name="T72" fmla="*/ 2 w 96"/>
                <a:gd name="T73" fmla="*/ 2 h 90"/>
                <a:gd name="T74" fmla="*/ 3 w 96"/>
                <a:gd name="T75" fmla="*/ 1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96" h="90">
                  <a:moveTo>
                    <a:pt x="36" y="18"/>
                  </a:moveTo>
                  <a:lnTo>
                    <a:pt x="42" y="18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D5CB99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6572463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55576" y="188640"/>
            <a:ext cx="7348605" cy="1944216"/>
          </a:xfrm>
        </p:spPr>
        <p:txBody>
          <a:bodyPr/>
          <a:lstStyle/>
          <a:p>
            <a:r>
              <a:rPr lang="en-US" dirty="0" smtClean="0">
                <a:solidFill>
                  <a:schemeClr val="hlink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     </a:t>
            </a:r>
            <a:br>
              <a:rPr lang="en-US" dirty="0" smtClean="0">
                <a:solidFill>
                  <a:schemeClr val="hlink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de-DE" sz="3200" b="1" dirty="0">
                <a:solidFill>
                  <a:schemeClr val="tx2">
                    <a:lumMod val="50000"/>
                  </a:schemeClr>
                </a:solidFill>
                <a:effectLst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</a:effectLst>
                <a:latin typeface="Maiandra GD" pitchFamily="34" charset="0"/>
              </a:rPr>
              <a:t>NEPAD SOUTHERN AFRICAN NETWORK OF WATER CENTRES OF EXCELLENCE</a:t>
            </a:r>
            <a:endParaRPr lang="en-ZA" sz="3200" dirty="0">
              <a:latin typeface="Maiandra GD" pitchFamily="34" charset="0"/>
            </a:endParaRPr>
          </a:p>
        </p:txBody>
      </p:sp>
      <p:sp>
        <p:nvSpPr>
          <p:cNvPr id="1741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77D2304-8C4D-4D56-A522-A5BC9814E507}" type="slidenum">
              <a:rPr lang="en-US" smtClean="0"/>
              <a:pPr/>
              <a:t>21</a:t>
            </a:fld>
            <a:endParaRPr lang="en-US" smtClean="0"/>
          </a:p>
        </p:txBody>
      </p:sp>
      <p:sp>
        <p:nvSpPr>
          <p:cNvPr id="29901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7504" y="1556792"/>
            <a:ext cx="8229600" cy="5472113"/>
          </a:xfrm>
        </p:spPr>
        <p:txBody>
          <a:bodyPr/>
          <a:lstStyle/>
          <a:p>
            <a:pPr eaLnBrk="1" hangingPunct="1">
              <a:lnSpc>
                <a:spcPct val="80000"/>
              </a:lnSpc>
              <a:defRPr/>
            </a:pPr>
            <a:endParaRPr lang="en-US" sz="2400" dirty="0" smtClean="0"/>
          </a:p>
          <a:p>
            <a:pPr marL="0" indent="0" eaLnBrk="1" hangingPunct="1">
              <a:lnSpc>
                <a:spcPct val="80000"/>
              </a:lnSpc>
              <a:buNone/>
              <a:defRPr/>
            </a:pPr>
            <a:endParaRPr lang="en-US" sz="2400" dirty="0" smtClean="0"/>
          </a:p>
          <a:p>
            <a:pPr eaLnBrk="1" hangingPunct="1">
              <a:lnSpc>
                <a:spcPct val="80000"/>
              </a:lnSpc>
              <a:defRPr/>
            </a:pPr>
            <a:r>
              <a:rPr lang="en-ZA" sz="2400" i="1" dirty="0" smtClean="0">
                <a:latin typeface="Maiandra GD" pitchFamily="34" charset="0"/>
              </a:rPr>
              <a:t>Aim - To improved </a:t>
            </a:r>
            <a:r>
              <a:rPr lang="en-ZA" sz="2400" i="1" dirty="0">
                <a:latin typeface="Maiandra GD" pitchFamily="34" charset="0"/>
              </a:rPr>
              <a:t>human and environmental well-being through research and development in water and </a:t>
            </a:r>
            <a:r>
              <a:rPr lang="en-ZA" sz="2400" i="1" dirty="0" smtClean="0">
                <a:latin typeface="Maiandra GD" pitchFamily="34" charset="0"/>
              </a:rPr>
              <a:t>sanitation</a:t>
            </a:r>
            <a:endParaRPr lang="en-ZA" sz="2400" dirty="0" smtClean="0">
              <a:solidFill>
                <a:schemeClr val="tx2">
                  <a:lumMod val="50000"/>
                </a:schemeClr>
              </a:solidFill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  <a:defRPr/>
            </a:pPr>
            <a:r>
              <a:rPr lang="en-ZA" sz="2400" dirty="0" smtClean="0">
                <a:solidFill>
                  <a:schemeClr val="tx2">
                    <a:lumMod val="50000"/>
                  </a:schemeClr>
                </a:solidFill>
                <a:latin typeface="Maiandra GD" pitchFamily="34" charset="0"/>
              </a:rPr>
              <a:t>Hub established at the Stellenbosch </a:t>
            </a:r>
            <a:r>
              <a:rPr lang="en-ZA" sz="2400" dirty="0">
                <a:solidFill>
                  <a:schemeClr val="tx2">
                    <a:lumMod val="50000"/>
                  </a:schemeClr>
                </a:solidFill>
                <a:latin typeface="Maiandra GD" pitchFamily="34" charset="0"/>
              </a:rPr>
              <a:t>University </a:t>
            </a:r>
            <a:r>
              <a:rPr lang="en-ZA" sz="2400" dirty="0" smtClean="0">
                <a:solidFill>
                  <a:schemeClr val="tx2">
                    <a:lumMod val="50000"/>
                  </a:schemeClr>
                </a:solidFill>
                <a:latin typeface="Maiandra GD" pitchFamily="34" charset="0"/>
              </a:rPr>
              <a:t>in South Africa</a:t>
            </a:r>
            <a:endParaRPr lang="en-ZA" sz="2400" dirty="0">
              <a:solidFill>
                <a:schemeClr val="tx2">
                  <a:lumMod val="50000"/>
                </a:schemeClr>
              </a:solidFill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  <a:defRPr/>
            </a:pPr>
            <a:r>
              <a:rPr lang="en-ZA" sz="2400" dirty="0">
                <a:solidFill>
                  <a:schemeClr val="tx2">
                    <a:lumMod val="50000"/>
                  </a:schemeClr>
                </a:solidFill>
                <a:latin typeface="Maiandra GD" pitchFamily="34" charset="0"/>
              </a:rPr>
              <a:t>Financial </a:t>
            </a:r>
            <a:r>
              <a:rPr lang="en-ZA" sz="2400" dirty="0" smtClean="0">
                <a:solidFill>
                  <a:schemeClr val="tx2">
                    <a:lumMod val="50000"/>
                  </a:schemeClr>
                </a:solidFill>
                <a:latin typeface="Maiandra GD" pitchFamily="34" charset="0"/>
              </a:rPr>
              <a:t>support from Government of South Africa -DST and EC support </a:t>
            </a:r>
            <a:endParaRPr lang="en-US" sz="2400" b="1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  <a:defRPr/>
            </a:pPr>
            <a:r>
              <a:rPr lang="en-US" sz="2400" dirty="0" smtClean="0">
                <a:latin typeface="Maiandra GD" pitchFamily="34" charset="0"/>
              </a:rPr>
              <a:t>Nodes currently existing in Mozambique, Malawi, Zambia and Botswana </a:t>
            </a:r>
            <a:endParaRPr lang="en-US" sz="2400" b="1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  <a:defRPr/>
            </a:pPr>
            <a:r>
              <a:rPr lang="en-US" sz="2400" b="1" dirty="0" smtClean="0">
                <a:solidFill>
                  <a:srgbClr val="FF0000"/>
                </a:solidFill>
                <a:latin typeface="Maiandra GD" pitchFamily="34" charset="0"/>
              </a:rPr>
              <a:t>West Africa Water Sciences Network established in October 2009</a:t>
            </a:r>
          </a:p>
          <a:p>
            <a:pPr eaLnBrk="1" hangingPunct="1">
              <a:lnSpc>
                <a:spcPct val="80000"/>
              </a:lnSpc>
              <a:defRPr/>
            </a:pPr>
            <a:endParaRPr lang="en-US" sz="2400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00369263-D244-4E46-8F83-122BC319D77B}" type="slidenum">
              <a:rPr lang="en-US" smtClean="0"/>
              <a:pPr/>
              <a:t>22</a:t>
            </a:fld>
            <a:endParaRPr lang="en-US" smtClean="0"/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16632"/>
            <a:ext cx="7092950" cy="1143000"/>
          </a:xfrm>
        </p:spPr>
        <p:txBody>
          <a:bodyPr/>
          <a:lstStyle/>
          <a:p>
            <a:pPr eaLnBrk="1" hangingPunct="1">
              <a:lnSpc>
                <a:spcPct val="80000"/>
              </a:lnSpc>
              <a:defRPr/>
            </a:pPr>
            <a:r>
              <a:rPr lang="en-US" sz="40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Maiandra GD" pitchFamily="34" charset="0"/>
              </a:rPr>
              <a:t>Laser Technology</a:t>
            </a:r>
          </a:p>
        </p:txBody>
      </p:sp>
      <p:sp>
        <p:nvSpPr>
          <p:cNvPr id="293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51520" y="980728"/>
            <a:ext cx="8229600" cy="4525963"/>
          </a:xfrm>
        </p:spPr>
        <p:txBody>
          <a:bodyPr/>
          <a:lstStyle/>
          <a:p>
            <a:pPr eaLnBrk="1" hangingPunct="1">
              <a:lnSpc>
                <a:spcPct val="80000"/>
              </a:lnSpc>
              <a:defRPr/>
            </a:pPr>
            <a:r>
              <a:rPr lang="en-ZA" sz="2800" dirty="0" smtClean="0">
                <a:latin typeface="Maiandra GD" pitchFamily="34" charset="0"/>
              </a:rPr>
              <a:t>Implemented through the African Laser Centre (ALC) hosted by the CSIR – South Africa </a:t>
            </a:r>
          </a:p>
          <a:p>
            <a:pPr eaLnBrk="1" hangingPunct="1">
              <a:lnSpc>
                <a:spcPct val="80000"/>
              </a:lnSpc>
              <a:defRPr/>
            </a:pPr>
            <a:endParaRPr lang="en-ZA" sz="28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  <a:defRPr/>
            </a:pPr>
            <a:r>
              <a:rPr lang="en-ZA" sz="2800" dirty="0" smtClean="0">
                <a:latin typeface="Maiandra GD" pitchFamily="34" charset="0"/>
              </a:rPr>
              <a:t>A pan African network focusing on research and training with membership from all the regions of the continent </a:t>
            </a:r>
          </a:p>
          <a:p>
            <a:pPr eaLnBrk="1" hangingPunct="1">
              <a:lnSpc>
                <a:spcPct val="80000"/>
              </a:lnSpc>
              <a:defRPr/>
            </a:pPr>
            <a:endParaRPr lang="en-ZA" sz="28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  <a:defRPr/>
            </a:pPr>
            <a:r>
              <a:rPr lang="en-ZA" sz="2800" dirty="0" smtClean="0">
                <a:latin typeface="Maiandra GD" pitchFamily="34" charset="0"/>
              </a:rPr>
              <a:t>Implemented 47 projects from 2006 to 2009 </a:t>
            </a:r>
          </a:p>
          <a:p>
            <a:pPr eaLnBrk="1" hangingPunct="1">
              <a:lnSpc>
                <a:spcPct val="80000"/>
              </a:lnSpc>
              <a:defRPr/>
            </a:pPr>
            <a:endParaRPr lang="en-ZA" sz="2800" dirty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  <a:defRPr/>
            </a:pPr>
            <a:r>
              <a:rPr lang="en-ZA" sz="2800" dirty="0" smtClean="0">
                <a:latin typeface="Maiandra GD" pitchFamily="34" charset="0"/>
              </a:rPr>
              <a:t>Trained 83 MSc and 119 PhD from 2006 to 2011</a:t>
            </a:r>
            <a:endParaRPr lang="en-US" sz="2800" dirty="0" smtClean="0">
              <a:effectLst>
                <a:outerShdw blurRad="38100" dist="38100" dir="2700000" algn="tl">
                  <a:srgbClr val="C0C0C0"/>
                </a:outerShdw>
              </a:effectLst>
              <a:latin typeface="Maiandra GD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iandra GD" pitchFamily="34" charset="0"/>
              </a:rPr>
              <a:t>African Mathematical Sciences Network (</a:t>
            </a:r>
            <a:r>
              <a:rPr lang="en-US" dirty="0" err="1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iandra GD" pitchFamily="34" charset="0"/>
              </a:rPr>
              <a:t>AMINet</a:t>
            </a:r>
            <a:r>
              <a:rPr lang="en-US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iandra GD" pitchFamily="34" charset="0"/>
              </a:rPr>
              <a:t>)</a:t>
            </a:r>
            <a:endParaRPr lang="en-GB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772816"/>
            <a:ext cx="8229600" cy="4525963"/>
          </a:xfrm>
        </p:spPr>
        <p:txBody>
          <a:bodyPr/>
          <a:lstStyle/>
          <a:p>
            <a:pPr lvl="0" eaLnBrk="1" hangingPunct="1">
              <a:lnSpc>
                <a:spcPct val="80000"/>
              </a:lnSpc>
              <a:defRPr/>
            </a:pPr>
            <a:r>
              <a:rPr lang="en-US" sz="2400" dirty="0" smtClean="0">
                <a:solidFill>
                  <a:prstClr val="black"/>
                </a:solidFill>
                <a:latin typeface="Maiandra GD" pitchFamily="34" charset="0"/>
              </a:rPr>
              <a:t>African </a:t>
            </a:r>
            <a:r>
              <a:rPr lang="en-US" sz="2400" dirty="0">
                <a:solidFill>
                  <a:prstClr val="black"/>
                </a:solidFill>
                <a:latin typeface="Maiandra GD" pitchFamily="34" charset="0"/>
              </a:rPr>
              <a:t>Institute of Mathematical Sciences (AIMS) in Cape Town was designated a </a:t>
            </a:r>
            <a:r>
              <a:rPr lang="en-US" sz="2400" dirty="0" err="1">
                <a:solidFill>
                  <a:prstClr val="black"/>
                </a:solidFill>
                <a:latin typeface="Maiandra GD" pitchFamily="34" charset="0"/>
              </a:rPr>
              <a:t>centre</a:t>
            </a:r>
            <a:r>
              <a:rPr lang="en-US" sz="2400" dirty="0">
                <a:solidFill>
                  <a:prstClr val="black"/>
                </a:solidFill>
                <a:latin typeface="Maiandra GD" pitchFamily="34" charset="0"/>
              </a:rPr>
              <a:t> of excellence at AMCOST 1 in 2003</a:t>
            </a:r>
          </a:p>
          <a:p>
            <a:pPr lvl="0" eaLnBrk="1" hangingPunct="1">
              <a:lnSpc>
                <a:spcPct val="80000"/>
              </a:lnSpc>
              <a:defRPr/>
            </a:pPr>
            <a:endParaRPr lang="en-US" sz="2400" dirty="0">
              <a:solidFill>
                <a:prstClr val="black"/>
              </a:solidFill>
              <a:latin typeface="Maiandra GD" pitchFamily="34" charset="0"/>
            </a:endParaRPr>
          </a:p>
          <a:p>
            <a:pPr lvl="0" eaLnBrk="1" hangingPunct="1">
              <a:lnSpc>
                <a:spcPct val="80000"/>
              </a:lnSpc>
              <a:defRPr/>
            </a:pPr>
            <a:r>
              <a:rPr lang="en-US" sz="2400" dirty="0">
                <a:solidFill>
                  <a:prstClr val="black"/>
                </a:solidFill>
                <a:latin typeface="Maiandra GD" pitchFamily="34" charset="0"/>
              </a:rPr>
              <a:t>Since 2003, AIMS </a:t>
            </a:r>
            <a:r>
              <a:rPr lang="en-US" sz="2400" dirty="0" smtClean="0">
                <a:solidFill>
                  <a:prstClr val="black"/>
                </a:solidFill>
                <a:latin typeface="Maiandra GD" pitchFamily="34" charset="0"/>
              </a:rPr>
              <a:t>has graduated 412 post-graduates from 32 different African countries </a:t>
            </a:r>
            <a:endParaRPr lang="en-US" sz="2400" dirty="0">
              <a:solidFill>
                <a:prstClr val="black"/>
              </a:solidFill>
              <a:latin typeface="Maiandra GD" pitchFamily="34" charset="0"/>
            </a:endParaRPr>
          </a:p>
          <a:p>
            <a:pPr lvl="0" eaLnBrk="1" hangingPunct="1">
              <a:lnSpc>
                <a:spcPct val="80000"/>
              </a:lnSpc>
              <a:defRPr/>
            </a:pPr>
            <a:endParaRPr lang="en-US" sz="2400" dirty="0">
              <a:solidFill>
                <a:prstClr val="black"/>
              </a:solidFill>
              <a:latin typeface="Maiandra GD" pitchFamily="34" charset="0"/>
            </a:endParaRPr>
          </a:p>
          <a:p>
            <a:pPr lvl="0" eaLnBrk="1" hangingPunct="1">
              <a:lnSpc>
                <a:spcPct val="80000"/>
              </a:lnSpc>
              <a:defRPr/>
            </a:pPr>
            <a:r>
              <a:rPr lang="en-US" sz="2400" dirty="0">
                <a:solidFill>
                  <a:prstClr val="black"/>
                </a:solidFill>
                <a:latin typeface="Maiandra GD" pitchFamily="34" charset="0"/>
              </a:rPr>
              <a:t>AIMS coordinates the implementation of </a:t>
            </a:r>
            <a:r>
              <a:rPr lang="en-US" sz="2400" dirty="0" err="1">
                <a:solidFill>
                  <a:prstClr val="black"/>
                </a:solidFill>
                <a:latin typeface="Maiandra GD" pitchFamily="34" charset="0"/>
              </a:rPr>
              <a:t>AMINet</a:t>
            </a:r>
            <a:r>
              <a:rPr lang="en-US" sz="2400" dirty="0">
                <a:solidFill>
                  <a:prstClr val="black"/>
                </a:solidFill>
                <a:latin typeface="Maiandra GD" pitchFamily="34" charset="0"/>
              </a:rPr>
              <a:t> where other nodes </a:t>
            </a:r>
            <a:r>
              <a:rPr lang="en-US" sz="2400" dirty="0" smtClean="0">
                <a:solidFill>
                  <a:prstClr val="black"/>
                </a:solidFill>
                <a:latin typeface="Maiandra GD" pitchFamily="34" charset="0"/>
              </a:rPr>
              <a:t>have been established </a:t>
            </a:r>
            <a:r>
              <a:rPr lang="en-US" sz="2400" dirty="0">
                <a:solidFill>
                  <a:prstClr val="black"/>
                </a:solidFill>
                <a:latin typeface="Maiandra GD" pitchFamily="34" charset="0"/>
              </a:rPr>
              <a:t>in Senegal, Ghana and </a:t>
            </a:r>
            <a:r>
              <a:rPr lang="en-US" sz="2400" dirty="0" smtClean="0">
                <a:solidFill>
                  <a:prstClr val="black"/>
                </a:solidFill>
                <a:latin typeface="Maiandra GD" pitchFamily="34" charset="0"/>
              </a:rPr>
              <a:t>Nigeria </a:t>
            </a:r>
            <a:endParaRPr lang="en-US" sz="2400" dirty="0">
              <a:solidFill>
                <a:prstClr val="blac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Maiandra GD" pitchFamily="34" charset="0"/>
            </a:endParaRPr>
          </a:p>
          <a:p>
            <a:endParaRPr lang="en-GB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879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b="1" dirty="0" smtClean="0">
                <a:latin typeface="Maiandra GD" pitchFamily="34" charset="0"/>
              </a:rPr>
              <a:t>Material Science </a:t>
            </a:r>
            <a:endParaRPr lang="en-GB" b="1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Quality Infrastructure </a:t>
            </a:r>
          </a:p>
          <a:p>
            <a:pPr lvl="1"/>
            <a:r>
              <a:rPr lang="en-ZA" dirty="0" smtClean="0">
                <a:latin typeface="Maiandra GD" pitchFamily="34" charset="0"/>
              </a:rPr>
              <a:t>Focus on standards harmonisation </a:t>
            </a:r>
          </a:p>
          <a:p>
            <a:pPr lvl="1"/>
            <a:endParaRPr lang="en-GB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27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b="1" dirty="0" smtClean="0">
                <a:latin typeface="Maiandra GD" pitchFamily="34" charset="0"/>
              </a:rPr>
              <a:t>Support to the RECs </a:t>
            </a:r>
            <a:endParaRPr lang="en-GB" b="1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268760"/>
            <a:ext cx="8229600" cy="4525963"/>
          </a:xfrm>
        </p:spPr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AMRH – Harmonisation of regulation of medicines </a:t>
            </a:r>
          </a:p>
          <a:p>
            <a:endParaRPr lang="en-ZA" sz="800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SADC – SADC PGR Policy Guidelines; Process of setting up the SADC desk</a:t>
            </a:r>
          </a:p>
          <a:p>
            <a:endParaRPr lang="en-ZA" sz="800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COMESA – Development of COMESA Programme on STI</a:t>
            </a:r>
          </a:p>
          <a:p>
            <a:endParaRPr lang="en-ZA" sz="800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ECOWAS – Development of ECOPOST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29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BFC84760-BF98-447E-AF6A-7CCBE9D7BBDF}" type="slidenum">
              <a:rPr lang="en-US" smtClean="0"/>
              <a:pPr/>
              <a:t>26</a:t>
            </a:fld>
            <a:endParaRPr lang="en-US" smtClean="0"/>
          </a:p>
        </p:txBody>
      </p:sp>
      <p:sp>
        <p:nvSpPr>
          <p:cNvPr id="21507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57200" y="1341438"/>
            <a:ext cx="8229600" cy="4678362"/>
          </a:xfrm>
        </p:spPr>
        <p:txBody>
          <a:bodyPr/>
          <a:lstStyle/>
          <a:p>
            <a:pPr eaLnBrk="1" hangingPunct="1">
              <a:buFontTx/>
              <a:buNone/>
            </a:pPr>
            <a:r>
              <a:rPr lang="en-US" dirty="0" smtClean="0">
                <a:latin typeface="Maiandra GD" pitchFamily="34" charset="0"/>
              </a:rPr>
              <a:t>ASTII Programme</a:t>
            </a:r>
          </a:p>
          <a:p>
            <a:pPr eaLnBrk="1" hangingPunct="1">
              <a:buFontTx/>
              <a:buNone/>
            </a:pPr>
            <a:r>
              <a:rPr lang="en-ZA" sz="2400" dirty="0" smtClean="0">
                <a:solidFill>
                  <a:srgbClr val="A50021"/>
                </a:solidFill>
                <a:latin typeface="Maiandra GD" pitchFamily="34" charset="0"/>
              </a:rPr>
              <a:t>Overall Goal</a:t>
            </a:r>
            <a:r>
              <a:rPr lang="en-ZA" sz="2400" dirty="0" smtClean="0">
                <a:latin typeface="Maiandra GD" pitchFamily="34" charset="0"/>
              </a:rPr>
              <a:t> : To contribute towards the </a:t>
            </a:r>
            <a:r>
              <a:rPr lang="en-ZA" sz="2400" dirty="0" smtClean="0">
                <a:solidFill>
                  <a:srgbClr val="0000CC"/>
                </a:solidFill>
                <a:latin typeface="Maiandra GD" pitchFamily="34" charset="0"/>
              </a:rPr>
              <a:t>improvement of the  quality of science, technology and innovation policies</a:t>
            </a:r>
            <a:r>
              <a:rPr lang="en-ZA" sz="2400" dirty="0" smtClean="0">
                <a:latin typeface="Maiandra GD" pitchFamily="34" charset="0"/>
              </a:rPr>
              <a:t> at national, regional and continental levels</a:t>
            </a:r>
            <a:endParaRPr lang="en-US" sz="2400" dirty="0" smtClean="0">
              <a:latin typeface="Maiandra GD" pitchFamily="34" charset="0"/>
            </a:endParaRPr>
          </a:p>
          <a:p>
            <a:pPr eaLnBrk="1" hangingPunct="1">
              <a:buFontTx/>
              <a:buNone/>
            </a:pPr>
            <a:endParaRPr lang="en-ZA" sz="2400" dirty="0" smtClean="0">
              <a:solidFill>
                <a:srgbClr val="A50021"/>
              </a:solidFill>
              <a:latin typeface="Maiandra GD" pitchFamily="34" charset="0"/>
            </a:endParaRPr>
          </a:p>
          <a:p>
            <a:pPr eaLnBrk="1" hangingPunct="1">
              <a:buFontTx/>
              <a:buNone/>
            </a:pPr>
            <a:r>
              <a:rPr lang="en-ZA" sz="2400" dirty="0" smtClean="0">
                <a:solidFill>
                  <a:srgbClr val="A50021"/>
                </a:solidFill>
                <a:latin typeface="Maiandra GD" pitchFamily="34" charset="0"/>
              </a:rPr>
              <a:t>Purpose: </a:t>
            </a:r>
            <a:r>
              <a:rPr lang="en-ZA" sz="2400" dirty="0" smtClean="0">
                <a:latin typeface="Maiandra GD" pitchFamily="34" charset="0"/>
              </a:rPr>
              <a:t>To strengthen Africa’s capacity to </a:t>
            </a:r>
            <a:r>
              <a:rPr lang="en-ZA" sz="2400" dirty="0" smtClean="0">
                <a:solidFill>
                  <a:srgbClr val="0000CC"/>
                </a:solidFill>
                <a:latin typeface="Maiandra GD" pitchFamily="34" charset="0"/>
              </a:rPr>
              <a:t>develop and use Science</a:t>
            </a:r>
            <a:r>
              <a:rPr lang="en-ZA" sz="2400" dirty="0" smtClean="0">
                <a:latin typeface="Maiandra GD" pitchFamily="34" charset="0"/>
              </a:rPr>
              <a:t>, Technology and Innovation (ASTII) Indicators.</a:t>
            </a:r>
            <a:endParaRPr lang="en-ZA" sz="2400" dirty="0">
              <a:latin typeface="Maiandra GD" pitchFamily="34" charset="0"/>
            </a:endParaRPr>
          </a:p>
          <a:p>
            <a:pPr eaLnBrk="1" hangingPunct="1">
              <a:buFontTx/>
              <a:buNone/>
            </a:pPr>
            <a:endParaRPr lang="en-ZA" sz="2400" dirty="0" smtClean="0">
              <a:latin typeface="Maiandra GD" pitchFamily="34" charset="0"/>
            </a:endParaRPr>
          </a:p>
          <a:p>
            <a:pPr eaLnBrk="1" hangingPunct="1">
              <a:buFontTx/>
              <a:buNone/>
            </a:pPr>
            <a:r>
              <a:rPr lang="en-ZA" sz="2400" dirty="0" smtClean="0">
                <a:latin typeface="Maiandra GD" pitchFamily="34" charset="0"/>
              </a:rPr>
              <a:t>Publication of the Africa Innovation outlook a major milestone for informing policy and programme development.</a:t>
            </a:r>
          </a:p>
        </p:txBody>
      </p:sp>
      <p:sp>
        <p:nvSpPr>
          <p:cNvPr id="203780" name="Rectangle 4"/>
          <p:cNvSpPr>
            <a:spLocks noChangeArrowheads="1"/>
          </p:cNvSpPr>
          <p:nvPr/>
        </p:nvSpPr>
        <p:spPr bwMode="auto">
          <a:xfrm>
            <a:off x="1331640" y="476672"/>
            <a:ext cx="5834062" cy="501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lnSpc>
                <a:spcPts val="3000"/>
              </a:lnSpc>
              <a:defRPr/>
            </a:pPr>
            <a:r>
              <a:rPr lang="en-US" sz="4000" b="1" dirty="0">
                <a:solidFill>
                  <a:schemeClr val="hlink"/>
                </a:solidFill>
                <a:latin typeface="Maiandra GD" pitchFamily="34" charset="0"/>
              </a:rPr>
              <a:t>Policy Programm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b="1" dirty="0" smtClean="0">
                <a:latin typeface="Maiandra GD" pitchFamily="34" charset="0"/>
              </a:rPr>
              <a:t>Funding of Programmes </a:t>
            </a:r>
            <a:endParaRPr lang="en-GB" b="1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In-kind </a:t>
            </a:r>
            <a:r>
              <a:rPr lang="en-ZA" dirty="0" smtClean="0">
                <a:latin typeface="Maiandra GD" pitchFamily="34" charset="0"/>
              </a:rPr>
              <a:t>support – Member states hosting hubs and nodes  </a:t>
            </a:r>
            <a:endParaRPr lang="en-ZA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Support in </a:t>
            </a:r>
            <a:r>
              <a:rPr lang="en-ZA" dirty="0" smtClean="0">
                <a:latin typeface="Maiandra GD" pitchFamily="34" charset="0"/>
              </a:rPr>
              <a:t>cash – Some member states and partners have contributes financially to NEPAD programmes  </a:t>
            </a:r>
            <a:endParaRPr lang="en-ZA" dirty="0" smtClean="0">
              <a:latin typeface="Maiandra GD" pitchFamily="34" charset="0"/>
            </a:endParaRPr>
          </a:p>
          <a:p>
            <a:endParaRPr lang="en-GB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63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8229600" cy="864096"/>
          </a:xfrm>
        </p:spPr>
        <p:txBody>
          <a:bodyPr/>
          <a:lstStyle/>
          <a:p>
            <a:r>
              <a:rPr lang="en-ZA" b="1" dirty="0" smtClean="0">
                <a:latin typeface="Maiandra GD" pitchFamily="34" charset="0"/>
              </a:rPr>
              <a:t>Challenges </a:t>
            </a:r>
            <a:endParaRPr lang="en-GB" b="1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929411"/>
          </a:xfrm>
        </p:spPr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Mobilisation of adequate and sustainable resources </a:t>
            </a:r>
          </a:p>
          <a:p>
            <a:endParaRPr lang="en-ZA" sz="1400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Private sector involvement  </a:t>
            </a:r>
          </a:p>
          <a:p>
            <a:endParaRPr lang="en-ZA" sz="1600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Demonstrating accountability with no benchmarking/baseline </a:t>
            </a:r>
          </a:p>
          <a:p>
            <a:endParaRPr lang="en-ZA" sz="1200" dirty="0" smtClean="0">
              <a:latin typeface="Maiandra GD" pitchFamily="34" charset="0"/>
            </a:endParaRPr>
          </a:p>
          <a:p>
            <a:r>
              <a:rPr lang="en-ZA" dirty="0">
                <a:latin typeface="Maiandra GD" pitchFamily="34" charset="0"/>
              </a:rPr>
              <a:t>Wide differences in project implementation capacities amongst Member States </a:t>
            </a:r>
            <a:endParaRPr lang="en-GB" dirty="0">
              <a:latin typeface="Maiandra GD" pitchFamily="34" charset="0"/>
            </a:endParaRPr>
          </a:p>
          <a:p>
            <a:endParaRPr lang="en-ZA" dirty="0" smtClean="0"/>
          </a:p>
          <a:p>
            <a:endParaRPr lang="en-ZA" dirty="0" smtClean="0"/>
          </a:p>
        </p:txBody>
      </p:sp>
    </p:spTree>
    <p:extLst>
      <p:ext uri="{BB962C8B-B14F-4D97-AF65-F5344CB8AC3E}">
        <p14:creationId xmlns:p14="http://schemas.microsoft.com/office/powerpoint/2010/main" val="297290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b="1" dirty="0">
                <a:latin typeface="Maiandra GD" pitchFamily="34" charset="0"/>
              </a:rPr>
              <a:t>Challenges </a:t>
            </a:r>
            <a:endParaRPr lang="en-GB" b="1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Maintaining network approach </a:t>
            </a:r>
          </a:p>
          <a:p>
            <a:endParaRPr lang="en-ZA" sz="1200" dirty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Institutionalisation </a:t>
            </a:r>
            <a:r>
              <a:rPr lang="en-ZA" dirty="0">
                <a:latin typeface="Maiandra GD" pitchFamily="34" charset="0"/>
              </a:rPr>
              <a:t>of programmes in RECs and Member </a:t>
            </a:r>
            <a:r>
              <a:rPr lang="en-ZA" dirty="0" smtClean="0">
                <a:latin typeface="Maiandra GD" pitchFamily="34" charset="0"/>
              </a:rPr>
              <a:t>States</a:t>
            </a:r>
          </a:p>
          <a:p>
            <a:endParaRPr lang="en-ZA" sz="1200" dirty="0">
              <a:latin typeface="Maiandra GD" pitchFamily="34" charset="0"/>
            </a:endParaRPr>
          </a:p>
          <a:p>
            <a:r>
              <a:rPr lang="en-ZA" dirty="0">
                <a:latin typeface="Maiandra GD" pitchFamily="34" charset="0"/>
              </a:rPr>
              <a:t>Linking the CPA programmes to other </a:t>
            </a:r>
            <a:r>
              <a:rPr lang="en-ZA" dirty="0" err="1">
                <a:latin typeface="Maiandra GD" pitchFamily="34" charset="0"/>
              </a:rPr>
              <a:t>sectoral</a:t>
            </a:r>
            <a:r>
              <a:rPr lang="en-ZA" dirty="0">
                <a:latin typeface="Maiandra GD" pitchFamily="34" charset="0"/>
              </a:rPr>
              <a:t> programmes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974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143000"/>
          </a:xfrm>
        </p:spPr>
        <p:txBody>
          <a:bodyPr/>
          <a:lstStyle/>
          <a:p>
            <a:r>
              <a:rPr lang="en-US" dirty="0" smtClean="0">
                <a:latin typeface="Maiandra GD" pitchFamily="34" charset="0"/>
              </a:rPr>
              <a:t>AU/NEPAD Agency </a:t>
            </a:r>
            <a:endParaRPr lang="en-US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052736"/>
            <a:ext cx="8075240" cy="4525963"/>
          </a:xfrm>
        </p:spPr>
        <p:txBody>
          <a:bodyPr/>
          <a:lstStyle/>
          <a:p>
            <a:pPr algn="just">
              <a:buFont typeface="Arial" pitchFamily="34" charset="0"/>
              <a:buChar char="•"/>
              <a:defRPr/>
            </a:pPr>
            <a:r>
              <a:rPr lang="en-ZA" dirty="0" smtClean="0">
                <a:latin typeface="Maiandra GD" pitchFamily="34" charset="0"/>
                <a:cs typeface="Times New Roman" pitchFamily="18" charset="0"/>
              </a:rPr>
              <a:t>To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conduct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and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coordinate research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and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knowledge management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,</a:t>
            </a:r>
          </a:p>
          <a:p>
            <a:pPr algn="just">
              <a:defRPr/>
            </a:pPr>
            <a:endParaRPr lang="en-ZA" sz="800" dirty="0">
              <a:latin typeface="Maiandra GD" pitchFamily="34" charset="0"/>
              <a:cs typeface="Times New Roman" pitchFamily="18" charset="0"/>
            </a:endParaRPr>
          </a:p>
          <a:p>
            <a:pPr algn="just">
              <a:buFont typeface="Arial" pitchFamily="34" charset="0"/>
              <a:buChar char="•"/>
              <a:defRPr/>
            </a:pPr>
            <a:r>
              <a:rPr lang="en-ZA" dirty="0">
                <a:latin typeface="Maiandra GD" pitchFamily="34" charset="0"/>
                <a:cs typeface="Times New Roman" pitchFamily="18" charset="0"/>
              </a:rPr>
              <a:t>To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monitor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and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evaluate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the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implementation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of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programmes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</a:t>
            </a:r>
          </a:p>
          <a:p>
            <a:pPr algn="just">
              <a:defRPr/>
            </a:pPr>
            <a:endParaRPr lang="en-ZA" sz="800" dirty="0">
              <a:latin typeface="Maiandra GD" pitchFamily="34" charset="0"/>
              <a:cs typeface="Times New Roman" pitchFamily="18" charset="0"/>
            </a:endParaRPr>
          </a:p>
          <a:p>
            <a:pPr algn="just">
              <a:buFont typeface="Arial" pitchFamily="34" charset="0"/>
              <a:buChar char="•"/>
              <a:defRPr/>
            </a:pPr>
            <a:r>
              <a:rPr lang="en-ZA" dirty="0">
                <a:latin typeface="Maiandra GD" pitchFamily="34" charset="0"/>
                <a:cs typeface="Times New Roman" pitchFamily="18" charset="0"/>
              </a:rPr>
              <a:t>To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advocate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on the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AU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and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NEPAD vision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,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mission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and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core </a:t>
            </a:r>
            <a:r>
              <a:rPr lang="en-ZA" b="1" dirty="0" smtClean="0">
                <a:latin typeface="Maiandra GD" pitchFamily="34" charset="0"/>
                <a:cs typeface="Times New Roman" pitchFamily="18" charset="0"/>
              </a:rPr>
              <a:t>values</a:t>
            </a:r>
            <a:endParaRPr lang="en-ZA" dirty="0" smtClean="0">
              <a:latin typeface="Maiandra GD" pitchFamily="34" charset="0"/>
              <a:cs typeface="Times New Roman" pitchFamily="18" charset="0"/>
            </a:endParaRPr>
          </a:p>
          <a:p>
            <a:pPr algn="just">
              <a:buFont typeface="Arial" pitchFamily="34" charset="0"/>
              <a:buChar char="•"/>
              <a:defRPr/>
            </a:pPr>
            <a:endParaRPr lang="en-ZA" sz="800" dirty="0">
              <a:latin typeface="Maiandra GD" pitchFamily="34" charset="0"/>
              <a:cs typeface="Times New Roman" pitchFamily="18" charset="0"/>
            </a:endParaRPr>
          </a:p>
          <a:p>
            <a:pPr algn="just">
              <a:buFont typeface="Arial" pitchFamily="34" charset="0"/>
              <a:buChar char="•"/>
              <a:defRPr/>
            </a:pPr>
            <a:r>
              <a:rPr lang="en-ZA" dirty="0" smtClean="0">
                <a:latin typeface="Maiandra GD" pitchFamily="34" charset="0"/>
                <a:cs typeface="Times New Roman" pitchFamily="18" charset="0"/>
              </a:rPr>
              <a:t>To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mobilise resources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and </a:t>
            </a:r>
            <a:r>
              <a:rPr lang="en-ZA" b="1" dirty="0">
                <a:latin typeface="Maiandra GD" pitchFamily="34" charset="0"/>
                <a:cs typeface="Times New Roman" pitchFamily="18" charset="0"/>
              </a:rPr>
              <a:t>partners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 in support of </a:t>
            </a:r>
            <a:r>
              <a:rPr lang="en-ZA" dirty="0" smtClean="0">
                <a:latin typeface="Maiandra GD" pitchFamily="34" charset="0"/>
                <a:cs typeface="Times New Roman" pitchFamily="18" charset="0"/>
              </a:rPr>
              <a:t>programmes</a:t>
            </a:r>
            <a:r>
              <a:rPr lang="en-ZA" dirty="0">
                <a:latin typeface="Maiandra GD" pitchFamily="34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8840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b="1" dirty="0" smtClean="0">
                <a:latin typeface="Maiandra GD" pitchFamily="34" charset="0"/>
              </a:rPr>
              <a:t>Lessons Learnt </a:t>
            </a:r>
            <a:endParaRPr lang="en-GB" b="1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The importance of Monitoring, Evaluation and Impact Assessment </a:t>
            </a:r>
          </a:p>
          <a:p>
            <a:pPr marL="0" indent="0">
              <a:buNone/>
            </a:pPr>
            <a:endParaRPr lang="en-ZA" dirty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The focus should be on impact and bringing products to the market </a:t>
            </a:r>
          </a:p>
          <a:p>
            <a:pPr lvl="1"/>
            <a:r>
              <a:rPr lang="en-US" dirty="0" smtClean="0">
                <a:latin typeface="Maiandra GD" pitchFamily="34" charset="0"/>
              </a:rPr>
              <a:t>Technology </a:t>
            </a:r>
            <a:r>
              <a:rPr lang="en-US" dirty="0">
                <a:latin typeface="Maiandra GD" pitchFamily="34" charset="0"/>
              </a:rPr>
              <a:t>delivery to the ground </a:t>
            </a:r>
          </a:p>
          <a:p>
            <a:pPr lvl="1"/>
            <a:r>
              <a:rPr lang="en-US" dirty="0">
                <a:latin typeface="Maiandra GD" pitchFamily="34" charset="0"/>
              </a:rPr>
              <a:t>Engagement of Private sector</a:t>
            </a:r>
          </a:p>
          <a:p>
            <a:endParaRPr lang="en-ZA" dirty="0" smtClean="0">
              <a:latin typeface="Maiandra GD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057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1143000"/>
          </a:xfrm>
        </p:spPr>
        <p:txBody>
          <a:bodyPr/>
          <a:lstStyle/>
          <a:p>
            <a:r>
              <a:rPr lang="en-US" b="1" dirty="0" smtClean="0">
                <a:latin typeface="Maiandra GD" pitchFamily="34" charset="0"/>
              </a:rPr>
              <a:t>Lessons Learned </a:t>
            </a:r>
            <a:endParaRPr lang="en-US" b="1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196752"/>
            <a:ext cx="8229600" cy="4525963"/>
          </a:xfrm>
        </p:spPr>
        <p:txBody>
          <a:bodyPr/>
          <a:lstStyle/>
          <a:p>
            <a:r>
              <a:rPr lang="en-US" dirty="0" smtClean="0">
                <a:latin typeface="Maiandra GD" pitchFamily="34" charset="0"/>
              </a:rPr>
              <a:t>Importance of a robust Knowledge feedback system to enable reflection and learning for improving design of interventions</a:t>
            </a:r>
          </a:p>
          <a:p>
            <a:endParaRPr lang="en-US" sz="800" dirty="0" smtClean="0">
              <a:latin typeface="Maiandra GD" pitchFamily="34" charset="0"/>
            </a:endParaRPr>
          </a:p>
          <a:p>
            <a:pPr marL="342900" lvl="1" indent="-342900">
              <a:buFont typeface="Arial" charset="0"/>
              <a:buChar char="•"/>
            </a:pPr>
            <a:r>
              <a:rPr lang="en-US" dirty="0" smtClean="0">
                <a:latin typeface="Maiandra GD" pitchFamily="34" charset="0"/>
              </a:rPr>
              <a:t>Importance of communicating the benefits of STI programmes </a:t>
            </a:r>
          </a:p>
          <a:p>
            <a:pPr marL="342900" lvl="1" indent="-342900">
              <a:buFont typeface="Arial" charset="0"/>
              <a:buChar char="•"/>
            </a:pPr>
            <a:r>
              <a:rPr lang="en-US" dirty="0" smtClean="0">
                <a:latin typeface="Maiandra GD" pitchFamily="34" charset="0"/>
              </a:rPr>
              <a:t>Funding of STI programmes by member states is important for sustainability </a:t>
            </a:r>
            <a:endParaRPr lang="en-US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56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Maiandra GD" pitchFamily="34" charset="0"/>
              </a:rPr>
              <a:t>Lessons Learned </a:t>
            </a:r>
            <a:endParaRPr lang="en-GB" b="1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340768"/>
            <a:ext cx="8229600" cy="4525963"/>
          </a:xfrm>
        </p:spPr>
        <p:txBody>
          <a:bodyPr/>
          <a:lstStyle/>
          <a:p>
            <a:r>
              <a:rPr lang="en-US" dirty="0">
                <a:latin typeface="Maiandra GD" pitchFamily="34" charset="0"/>
              </a:rPr>
              <a:t>Sustainability</a:t>
            </a:r>
          </a:p>
          <a:p>
            <a:pPr lvl="1"/>
            <a:r>
              <a:rPr lang="en-US" dirty="0" smtClean="0">
                <a:latin typeface="Maiandra GD" pitchFamily="34" charset="0"/>
              </a:rPr>
              <a:t>Member states need to have policies, strategic plans and priority projects/programme clearly set and communicated </a:t>
            </a:r>
          </a:p>
          <a:p>
            <a:pPr marL="457200" lvl="1" indent="0">
              <a:buNone/>
            </a:pPr>
            <a:r>
              <a:rPr lang="en-US" dirty="0" smtClean="0">
                <a:latin typeface="Maiandra GD" pitchFamily="34" charset="0"/>
              </a:rPr>
              <a:t> </a:t>
            </a:r>
            <a:endParaRPr lang="en-US" dirty="0">
              <a:latin typeface="Maiandra GD" pitchFamily="34" charset="0"/>
            </a:endParaRPr>
          </a:p>
          <a:p>
            <a:pPr lvl="1"/>
            <a:r>
              <a:rPr lang="en-US" dirty="0">
                <a:latin typeface="Maiandra GD" pitchFamily="34" charset="0"/>
              </a:rPr>
              <a:t>Strengthening institutions to carry on with programme beyond partner support </a:t>
            </a:r>
            <a:endParaRPr lang="en-US" sz="2000" dirty="0">
              <a:latin typeface="Maiandra GD" pitchFamily="34" charset="0"/>
            </a:endParaRPr>
          </a:p>
          <a:p>
            <a:endParaRPr lang="en-GB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88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/>
          <a:lstStyle/>
          <a:p>
            <a:r>
              <a:rPr lang="en-ZA" b="1" dirty="0" smtClean="0">
                <a:latin typeface="Maiandra GD" pitchFamily="34" charset="0"/>
              </a:rPr>
              <a:t>Opportunities</a:t>
            </a:r>
            <a:r>
              <a:rPr lang="en-ZA" dirty="0" smtClean="0"/>
              <a:t>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908720"/>
            <a:ext cx="8229600" cy="4525963"/>
          </a:xfrm>
        </p:spPr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The networks and centres of excellence that have been established </a:t>
            </a:r>
          </a:p>
          <a:p>
            <a:r>
              <a:rPr lang="en-ZA" dirty="0" smtClean="0">
                <a:latin typeface="Maiandra GD" pitchFamily="34" charset="0"/>
              </a:rPr>
              <a:t>Emerging partnerships on STI in Africa and world wide</a:t>
            </a:r>
          </a:p>
          <a:p>
            <a:r>
              <a:rPr lang="en-ZA" dirty="0">
                <a:latin typeface="Maiandra GD" pitchFamily="34" charset="0"/>
              </a:rPr>
              <a:t>Advances in STI and engineering worldwide </a:t>
            </a:r>
            <a:endParaRPr lang="en-ZA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Africa’s Economic growth and development</a:t>
            </a:r>
          </a:p>
          <a:p>
            <a:r>
              <a:rPr lang="en-ZA" dirty="0" smtClean="0">
                <a:latin typeface="Maiandra GD" pitchFamily="34" charset="0"/>
              </a:rPr>
              <a:t>Public pressure for solutions </a:t>
            </a:r>
          </a:p>
          <a:p>
            <a:r>
              <a:rPr lang="en-ZA" dirty="0" smtClean="0">
                <a:latin typeface="Maiandra GD" pitchFamily="34" charset="0"/>
              </a:rPr>
              <a:t>Existence of RECs</a:t>
            </a:r>
          </a:p>
        </p:txBody>
      </p:sp>
    </p:spTree>
    <p:extLst>
      <p:ext uri="{BB962C8B-B14F-4D97-AF65-F5344CB8AC3E}">
        <p14:creationId xmlns:p14="http://schemas.microsoft.com/office/powerpoint/2010/main" val="396509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395536" y="764704"/>
            <a:ext cx="8229600" cy="4752528"/>
          </a:xfrm>
        </p:spPr>
        <p:txBody>
          <a:bodyPr/>
          <a:lstStyle/>
          <a:p>
            <a:pPr algn="ctr">
              <a:buNone/>
            </a:pPr>
            <a:r>
              <a:rPr lang="en-ZA" sz="4800" b="1" dirty="0" smtClean="0">
                <a:latin typeface="Maiandra GD" pitchFamily="34" charset="0"/>
              </a:rPr>
              <a:t>Looking Ahead </a:t>
            </a:r>
          </a:p>
          <a:p>
            <a:pPr algn="ctr">
              <a:buFontTx/>
              <a:buChar char="-"/>
            </a:pPr>
            <a:r>
              <a:rPr lang="en-ZA" sz="3600" b="1" i="1" dirty="0" smtClean="0">
                <a:latin typeface="Maiandra GD" pitchFamily="34" charset="0"/>
              </a:rPr>
              <a:t>Review of the CPA </a:t>
            </a:r>
          </a:p>
          <a:p>
            <a:pPr marL="0" indent="0" algn="ctr">
              <a:buNone/>
            </a:pPr>
            <a:endParaRPr lang="en-ZA" sz="900" b="1" i="1" dirty="0" smtClean="0">
              <a:latin typeface="Maiandra GD" pitchFamily="34" charset="0"/>
            </a:endParaRPr>
          </a:p>
          <a:p>
            <a:pPr algn="ctr">
              <a:buFontTx/>
              <a:buChar char="-"/>
            </a:pPr>
            <a:r>
              <a:rPr lang="en-ZA" sz="3600" i="1" dirty="0" smtClean="0">
                <a:latin typeface="Maiandra GD" pitchFamily="34" charset="0"/>
              </a:rPr>
              <a:t>Based on the lessons learnt since 2005, focus on out-scaling and up-scaling current programmes across Africa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Content Placeholder 2"/>
          <p:cNvSpPr>
            <a:spLocks noGrp="1"/>
          </p:cNvSpPr>
          <p:nvPr>
            <p:ph idx="1"/>
          </p:nvPr>
        </p:nvSpPr>
        <p:spPr>
          <a:xfrm>
            <a:off x="1476375" y="2781300"/>
            <a:ext cx="5770563" cy="719138"/>
          </a:xfrm>
        </p:spPr>
        <p:txBody>
          <a:bodyPr/>
          <a:lstStyle/>
          <a:p>
            <a:pPr algn="ctr">
              <a:buFont typeface="Arial" charset="0"/>
              <a:buNone/>
            </a:pPr>
            <a:r>
              <a:rPr lang="en-ZA" sz="4800" b="1" i="1" dirty="0" smtClean="0">
                <a:latin typeface="Maiandra GD" pitchFamily="34" charset="0"/>
              </a:rPr>
              <a:t>Thank you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620688"/>
            <a:ext cx="8229600" cy="1143000"/>
          </a:xfrm>
        </p:spPr>
        <p:txBody>
          <a:bodyPr/>
          <a:lstStyle/>
          <a:p>
            <a:r>
              <a:rPr lang="en-US" dirty="0">
                <a:latin typeface="Maiandra GD" pitchFamily="34" charset="0"/>
              </a:rPr>
              <a:t>NEPAD Science Technology &amp; Innovation Hub (NSTIH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552" y="1988840"/>
            <a:ext cx="8219256" cy="4525963"/>
          </a:xfrm>
        </p:spPr>
        <p:txBody>
          <a:bodyPr/>
          <a:lstStyle/>
          <a:p>
            <a:r>
              <a:rPr lang="en-US" dirty="0">
                <a:latin typeface="Maiandra GD" pitchFamily="34" charset="0"/>
              </a:rPr>
              <a:t>Established in the office of the CEO </a:t>
            </a:r>
            <a:endParaRPr lang="en-US" dirty="0" smtClean="0">
              <a:latin typeface="Maiandra GD" pitchFamily="34" charset="0"/>
            </a:endParaRPr>
          </a:p>
          <a:p>
            <a:pPr marL="0" indent="0">
              <a:buNone/>
            </a:pPr>
            <a:endParaRPr lang="en-US" sz="800" dirty="0">
              <a:latin typeface="Maiandra GD" pitchFamily="34" charset="0"/>
            </a:endParaRPr>
          </a:p>
          <a:p>
            <a:r>
              <a:rPr lang="en-US" dirty="0">
                <a:latin typeface="Maiandra GD" pitchFamily="34" charset="0"/>
              </a:rPr>
              <a:t>Main coordinating center for all STI programmes within NEPAD Agency </a:t>
            </a:r>
            <a:endParaRPr lang="en-US" dirty="0" smtClean="0">
              <a:latin typeface="Maiandra GD" pitchFamily="34" charset="0"/>
            </a:endParaRPr>
          </a:p>
          <a:p>
            <a:pPr marL="0" indent="0">
              <a:buNone/>
            </a:pPr>
            <a:endParaRPr lang="en-US" sz="800" dirty="0">
              <a:latin typeface="Maiandra GD" pitchFamily="34" charset="0"/>
            </a:endParaRPr>
          </a:p>
          <a:p>
            <a:r>
              <a:rPr lang="en-US" dirty="0">
                <a:latin typeface="Maiandra GD" pitchFamily="34" charset="0"/>
              </a:rPr>
              <a:t>Recommendation from the 1</a:t>
            </a:r>
            <a:r>
              <a:rPr lang="en-US" baseline="30000" dirty="0">
                <a:latin typeface="Maiandra GD" pitchFamily="34" charset="0"/>
              </a:rPr>
              <a:t>st</a:t>
            </a:r>
            <a:r>
              <a:rPr lang="en-US" dirty="0">
                <a:latin typeface="Maiandra GD" pitchFamily="34" charset="0"/>
              </a:rPr>
              <a:t> Bureau meeting of </a:t>
            </a:r>
            <a:r>
              <a:rPr lang="en-US" dirty="0" smtClean="0">
                <a:latin typeface="Maiandra GD" pitchFamily="34" charset="0"/>
              </a:rPr>
              <a:t>AMCOST IV</a:t>
            </a:r>
            <a:endParaRPr lang="en-US" dirty="0">
              <a:latin typeface="Maiandra GD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15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4624"/>
            <a:ext cx="8229600" cy="1143000"/>
          </a:xfrm>
        </p:spPr>
        <p:txBody>
          <a:bodyPr/>
          <a:lstStyle/>
          <a:p>
            <a:r>
              <a:rPr lang="en-US" dirty="0">
                <a:latin typeface="Maiandra GD" pitchFamily="34" charset="0"/>
              </a:rPr>
              <a:t>Main Functions of NSTIH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536" y="980728"/>
            <a:ext cx="8507288" cy="4896544"/>
          </a:xfrm>
        </p:spPr>
        <p:txBody>
          <a:bodyPr/>
          <a:lstStyle/>
          <a:p>
            <a:r>
              <a:rPr lang="en-US" dirty="0">
                <a:latin typeface="Maiandra GD" pitchFamily="34" charset="0"/>
              </a:rPr>
              <a:t>E</a:t>
            </a:r>
            <a:r>
              <a:rPr lang="en-US" dirty="0" smtClean="0">
                <a:latin typeface="Maiandra GD" pitchFamily="34" charset="0"/>
              </a:rPr>
              <a:t>nhancing</a:t>
            </a:r>
            <a:r>
              <a:rPr lang="en-US" dirty="0">
                <a:latin typeface="Maiandra GD" pitchFamily="34" charset="0"/>
              </a:rPr>
              <a:t>, coordinating and consolidating NEPAD STI programmes and projects </a:t>
            </a:r>
          </a:p>
          <a:p>
            <a:r>
              <a:rPr lang="en-US" dirty="0" smtClean="0">
                <a:latin typeface="Maiandra GD" pitchFamily="34" charset="0"/>
              </a:rPr>
              <a:t>Facilitating effective delivery of STI programmes across Africa based on the NEPAD Agency mandate </a:t>
            </a:r>
          </a:p>
          <a:p>
            <a:r>
              <a:rPr lang="en-US" dirty="0" smtClean="0">
                <a:latin typeface="Maiandra GD" pitchFamily="34" charset="0"/>
              </a:rPr>
              <a:t>Mainstreaming STI </a:t>
            </a:r>
            <a:r>
              <a:rPr lang="en-US" dirty="0">
                <a:latin typeface="Maiandra GD" pitchFamily="34" charset="0"/>
              </a:rPr>
              <a:t>into NEPAD programmes and </a:t>
            </a:r>
            <a:r>
              <a:rPr lang="en-US" dirty="0" smtClean="0">
                <a:latin typeface="Maiandra GD" pitchFamily="34" charset="0"/>
              </a:rPr>
              <a:t>projects</a:t>
            </a:r>
          </a:p>
          <a:p>
            <a:r>
              <a:rPr lang="en-US" dirty="0" smtClean="0">
                <a:latin typeface="Maiandra GD" pitchFamily="34" charset="0"/>
              </a:rPr>
              <a:t>Enhance the visibility of Impact oriented NEPAD Agency STI programmes </a:t>
            </a:r>
            <a:endParaRPr lang="en-US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8562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7504" y="1988840"/>
            <a:ext cx="8291264" cy="2880320"/>
          </a:xfrm>
        </p:spPr>
        <p:txBody>
          <a:bodyPr/>
          <a:lstStyle/>
          <a:p>
            <a:pPr marL="0" indent="0" algn="ctr">
              <a:buNone/>
            </a:pPr>
            <a:r>
              <a:rPr lang="en-US" sz="4800" dirty="0" smtClean="0">
                <a:latin typeface="Maiandra GD" pitchFamily="34" charset="0"/>
              </a:rPr>
              <a:t>Current Programmes of NSTIH </a:t>
            </a:r>
          </a:p>
          <a:p>
            <a:pPr marL="0" indent="0" algn="ctr">
              <a:buNone/>
            </a:pPr>
            <a:r>
              <a:rPr lang="en-US" sz="4000" i="1" dirty="0" smtClean="0">
                <a:latin typeface="Maiandra GD" pitchFamily="34" charset="0"/>
              </a:rPr>
              <a:t>Implementation of the CPA </a:t>
            </a:r>
            <a:endParaRPr lang="en-US" sz="4000" i="1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14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Programme Focus </a:t>
            </a:r>
            <a:endParaRPr lang="en-GB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536" y="1268760"/>
            <a:ext cx="8291264" cy="4525963"/>
          </a:xfrm>
        </p:spPr>
        <p:txBody>
          <a:bodyPr/>
          <a:lstStyle/>
          <a:p>
            <a:r>
              <a:rPr lang="en-ZA" dirty="0" smtClean="0">
                <a:latin typeface="Maiandra GD" pitchFamily="34" charset="0"/>
              </a:rPr>
              <a:t>R&amp;D programmes</a:t>
            </a:r>
          </a:p>
          <a:p>
            <a:endParaRPr lang="en-ZA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Human capacity building </a:t>
            </a:r>
          </a:p>
          <a:p>
            <a:endParaRPr lang="en-ZA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Institutional strengthening</a:t>
            </a:r>
          </a:p>
          <a:p>
            <a:endParaRPr lang="en-ZA" dirty="0" smtClean="0">
              <a:latin typeface="Maiandra GD" pitchFamily="34" charset="0"/>
            </a:endParaRPr>
          </a:p>
          <a:p>
            <a:r>
              <a:rPr lang="en-ZA" dirty="0" smtClean="0">
                <a:latin typeface="Maiandra GD" pitchFamily="34" charset="0"/>
              </a:rPr>
              <a:t>Support to RECs </a:t>
            </a:r>
            <a:endParaRPr lang="en-GB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10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11D8099C-F538-445B-B21C-BA420653B55F}" type="slidenum">
              <a:rPr lang="en-US" smtClean="0"/>
              <a:pPr/>
              <a:t>8</a:t>
            </a:fld>
            <a:endParaRPr lang="en-US" smtClean="0"/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>
          <a:xfrm>
            <a:off x="1475656" y="116632"/>
            <a:ext cx="6948487" cy="1143000"/>
          </a:xfrm>
        </p:spPr>
        <p:txBody>
          <a:bodyPr/>
          <a:lstStyle/>
          <a:p>
            <a:pPr algn="l" eaLnBrk="1" hangingPunct="1"/>
            <a:r>
              <a:rPr lang="en-US" sz="3200" b="1" dirty="0">
                <a:latin typeface="Maiandra GD" pitchFamily="34" charset="0"/>
              </a:rPr>
              <a:t>African Biosciences </a:t>
            </a:r>
            <a:r>
              <a:rPr lang="en-US" sz="3200" b="1" dirty="0" smtClean="0">
                <a:latin typeface="Maiandra GD" pitchFamily="34" charset="0"/>
              </a:rPr>
              <a:t>Initiative</a:t>
            </a:r>
            <a:endParaRPr lang="en-US" sz="3200" dirty="0" smtClean="0">
              <a:solidFill>
                <a:schemeClr val="hlink"/>
              </a:solidFill>
              <a:latin typeface="Maiandra GD" pitchFamily="34" charset="0"/>
            </a:endParaRP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467544" y="1340768"/>
            <a:ext cx="8229600" cy="4897438"/>
          </a:xfrm>
          <a:noFill/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2400" dirty="0" smtClean="0">
                <a:latin typeface="Maiandra GD" pitchFamily="34" charset="0"/>
              </a:rPr>
              <a:t>Establishment of regional networks of laboratories with state-of-the-art facilities</a:t>
            </a:r>
          </a:p>
          <a:p>
            <a:pPr eaLnBrk="1" hangingPunct="1">
              <a:lnSpc>
                <a:spcPct val="80000"/>
              </a:lnSpc>
            </a:pPr>
            <a:endParaRPr lang="en-US" sz="24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2400" dirty="0" smtClean="0">
                <a:latin typeface="Maiandra GD" pitchFamily="34" charset="0"/>
              </a:rPr>
              <a:t>Four networks have been established: 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400" dirty="0" smtClean="0">
                <a:latin typeface="Maiandra GD" pitchFamily="34" charset="0"/>
              </a:rPr>
              <a:t>Biosciences Eastern and Central Africa (</a:t>
            </a:r>
            <a:r>
              <a:rPr lang="en-US" sz="2400" dirty="0" err="1" smtClean="0">
                <a:latin typeface="Maiandra GD" pitchFamily="34" charset="0"/>
              </a:rPr>
              <a:t>BecA</a:t>
            </a:r>
            <a:r>
              <a:rPr lang="en-US" sz="2400" dirty="0" smtClean="0">
                <a:latin typeface="Maiandra GD" pitchFamily="34" charset="0"/>
              </a:rPr>
              <a:t>)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400" dirty="0" smtClean="0">
                <a:latin typeface="Maiandra GD" pitchFamily="34" charset="0"/>
              </a:rPr>
              <a:t>Southern Africa Network for Biosciences (</a:t>
            </a:r>
            <a:r>
              <a:rPr lang="en-US" sz="2400" dirty="0" err="1" smtClean="0">
                <a:latin typeface="Maiandra GD" pitchFamily="34" charset="0"/>
              </a:rPr>
              <a:t>SANBio</a:t>
            </a:r>
            <a:r>
              <a:rPr lang="en-US" sz="2400" dirty="0" smtClean="0">
                <a:latin typeface="Maiandra GD" pitchFamily="34" charset="0"/>
              </a:rPr>
              <a:t>)</a:t>
            </a:r>
          </a:p>
          <a:p>
            <a:pPr marL="457200" lvl="1" indent="0" eaLnBrk="1" hangingPunct="1">
              <a:lnSpc>
                <a:spcPct val="80000"/>
              </a:lnSpc>
              <a:buNone/>
            </a:pPr>
            <a:r>
              <a:rPr lang="en-US" sz="2400" dirty="0" smtClean="0">
                <a:latin typeface="Maiandra GD" pitchFamily="34" charset="0"/>
              </a:rPr>
              <a:t>(http://www.sanbio.org)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400" dirty="0" smtClean="0">
                <a:latin typeface="Maiandra GD" pitchFamily="34" charset="0"/>
              </a:rPr>
              <a:t>West Africa Biosciences Network (</a:t>
            </a:r>
            <a:r>
              <a:rPr lang="en-US" sz="2400" dirty="0" err="1" smtClean="0">
                <a:latin typeface="Maiandra GD" pitchFamily="34" charset="0"/>
              </a:rPr>
              <a:t>WABNet</a:t>
            </a:r>
            <a:r>
              <a:rPr lang="en-US" sz="2400" dirty="0" smtClean="0">
                <a:latin typeface="Maiandra GD" pitchFamily="34" charset="0"/>
              </a:rPr>
              <a:t>)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400" dirty="0" smtClean="0">
                <a:latin typeface="Maiandra GD" pitchFamily="34" charset="0"/>
              </a:rPr>
              <a:t>North Africa Biosciences Network (</a:t>
            </a:r>
            <a:r>
              <a:rPr lang="en-US" sz="2400" dirty="0" err="1" smtClean="0">
                <a:latin typeface="Maiandra GD" pitchFamily="34" charset="0"/>
              </a:rPr>
              <a:t>NABNet</a:t>
            </a:r>
            <a:r>
              <a:rPr lang="en-US" sz="2400" dirty="0" smtClean="0">
                <a:latin typeface="Maiandra GD" pitchFamily="34" charset="0"/>
              </a:rPr>
              <a:t>)</a:t>
            </a:r>
            <a:endParaRPr lang="en-US" sz="20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sz="2400" dirty="0" smtClean="0">
              <a:latin typeface="Maiandra GD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2400" dirty="0" smtClean="0">
                <a:latin typeface="Maiandra GD" pitchFamily="34" charset="0"/>
              </a:rPr>
              <a:t>Each network has a hub and nodes implementing regional flagship research programmes and capacity building activities in different discip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620688"/>
            <a:ext cx="8229600" cy="1143000"/>
          </a:xfrm>
        </p:spPr>
        <p:txBody>
          <a:bodyPr/>
          <a:lstStyle/>
          <a:p>
            <a:r>
              <a:rPr lang="en-US" dirty="0">
                <a:solidFill>
                  <a:schemeClr val="hlink"/>
                </a:solidFill>
                <a:latin typeface="Maiandra GD" pitchFamily="34" charset="0"/>
              </a:rPr>
              <a:t>Achievements in Capacity Building</a:t>
            </a:r>
            <a:endParaRPr lang="en-GB" dirty="0">
              <a:latin typeface="Maiandra G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2060848"/>
            <a:ext cx="8229600" cy="2818854"/>
          </a:xfrm>
        </p:spPr>
        <p:txBody>
          <a:bodyPr/>
          <a:lstStyle/>
          <a:p>
            <a:pPr eaLnBrk="1" hangingPunct="1">
              <a:buFontTx/>
              <a:buNone/>
            </a:pPr>
            <a:r>
              <a:rPr lang="en-US" dirty="0">
                <a:latin typeface="Maiandra GD" pitchFamily="34" charset="0"/>
              </a:rPr>
              <a:t>MSc and PhD support</a:t>
            </a:r>
            <a:endParaRPr lang="en-US" b="1" dirty="0">
              <a:latin typeface="Maiandra GD" pitchFamily="34" charset="0"/>
            </a:endParaRPr>
          </a:p>
          <a:p>
            <a:pPr lvl="1" eaLnBrk="1" hangingPunct="1"/>
            <a:r>
              <a:rPr lang="en-US" sz="2400" dirty="0" err="1">
                <a:latin typeface="Maiandra GD" pitchFamily="34" charset="0"/>
              </a:rPr>
              <a:t>BecANet</a:t>
            </a:r>
            <a:r>
              <a:rPr lang="en-US" sz="2400" dirty="0">
                <a:latin typeface="Maiandra GD" pitchFamily="34" charset="0"/>
              </a:rPr>
              <a:t> 	25 MSc		13  PhD</a:t>
            </a:r>
          </a:p>
          <a:p>
            <a:pPr lvl="1" eaLnBrk="1" hangingPunct="1"/>
            <a:r>
              <a:rPr lang="en-US" sz="2400" dirty="0" err="1">
                <a:latin typeface="Maiandra GD" pitchFamily="34" charset="0"/>
              </a:rPr>
              <a:t>NABNet</a:t>
            </a:r>
            <a:r>
              <a:rPr lang="en-US" sz="2400" dirty="0">
                <a:latin typeface="Maiandra GD" pitchFamily="34" charset="0"/>
              </a:rPr>
              <a:t>	</a:t>
            </a:r>
            <a:r>
              <a:rPr lang="en-US" sz="2400" dirty="0" smtClean="0">
                <a:latin typeface="Maiandra GD" pitchFamily="34" charset="0"/>
              </a:rPr>
              <a:t>12 </a:t>
            </a:r>
            <a:r>
              <a:rPr lang="en-US" sz="2400" dirty="0">
                <a:latin typeface="Maiandra GD" pitchFamily="34" charset="0"/>
              </a:rPr>
              <a:t>MSc		24  PhD</a:t>
            </a:r>
          </a:p>
          <a:p>
            <a:pPr lvl="1" eaLnBrk="1" hangingPunct="1"/>
            <a:r>
              <a:rPr lang="en-US" sz="2400" dirty="0" err="1">
                <a:latin typeface="Maiandra GD" pitchFamily="34" charset="0"/>
              </a:rPr>
              <a:t>WABNet</a:t>
            </a:r>
            <a:r>
              <a:rPr lang="en-US" sz="2400" dirty="0">
                <a:latin typeface="Maiandra GD" pitchFamily="34" charset="0"/>
              </a:rPr>
              <a:t>	  </a:t>
            </a:r>
            <a:r>
              <a:rPr lang="en-US" sz="2400" dirty="0" smtClean="0">
                <a:latin typeface="Maiandra GD" pitchFamily="34" charset="0"/>
              </a:rPr>
              <a:t>6 </a:t>
            </a:r>
            <a:r>
              <a:rPr lang="en-US" sz="2400" dirty="0">
                <a:latin typeface="Maiandra GD" pitchFamily="34" charset="0"/>
              </a:rPr>
              <a:t>MSc</a:t>
            </a:r>
          </a:p>
          <a:p>
            <a:pPr lvl="1" eaLnBrk="1" hangingPunct="1"/>
            <a:r>
              <a:rPr lang="en-US" sz="2400" u="sng" dirty="0" err="1">
                <a:latin typeface="Maiandra GD" pitchFamily="34" charset="0"/>
              </a:rPr>
              <a:t>SANBio</a:t>
            </a:r>
            <a:r>
              <a:rPr lang="en-US" sz="2400" u="sng" dirty="0">
                <a:latin typeface="Maiandra GD" pitchFamily="34" charset="0"/>
              </a:rPr>
              <a:t>		12 MSc		  7 PhD</a:t>
            </a:r>
          </a:p>
          <a:p>
            <a:pPr lvl="1" eaLnBrk="1" hangingPunct="1"/>
            <a:r>
              <a:rPr lang="en-US" sz="2400" u="sng" dirty="0">
                <a:latin typeface="Maiandra GD" pitchFamily="34" charset="0"/>
              </a:rPr>
              <a:t>Total 		55 MSc		44 </a:t>
            </a:r>
            <a:r>
              <a:rPr lang="en-US" sz="2400" u="sng" dirty="0" smtClean="0">
                <a:latin typeface="Maiandra GD" pitchFamily="34" charset="0"/>
              </a:rPr>
              <a:t>PhD</a:t>
            </a:r>
            <a:endParaRPr lang="en-US" sz="2400" u="sng" dirty="0">
              <a:latin typeface="Maiandra G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47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50"/>
    </mc:Choice>
    <mc:Fallback xmlns="">
      <p:transition spd="slow" advTm="2925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RLg7P46kuDth9V4y.H0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Uy7iopkWXsNhWimjh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.Gqi9_IE.4fYxVel5j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Xlx2V7E0WSQrmsAFSI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f2ev2w1U2Lev7DeqIN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5o7U5xq0SxpIm1ufxT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mh72AWakqIaWHxbMn7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RBDFOPI06wZNhbU3_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e8qQZd70Cc6ISRP4AS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B0mZy6gUSigUF_wLNV.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st4jv.MkiqEIh3o3UG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cLIjKQjku0g1b0TwU2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E5l2k5ek6pZZby0QTd7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WTXcY7XUSXqUDEEpvL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WuTrl0v0ib3JQ5cqvI0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ocD.QCL0CKV4zfUzUW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QNxcLkKEWkjev1cpMd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fxNN1h2ESkomghA6hd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a3A2pS3k6BsYrpq5SG5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eqAr4HAUGpnQaEggYw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bL_f7pQkqHWEv31ih3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QMdkJOwEmMar9hvEfH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KQpmMUkOgsTzNcQoE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Pjbdm5qUCOStV2yT7g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YFKKYZEUS_SofntD8g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pW7GmyzE62spi0oko9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iXtShogkKJofj1HKEY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HBcsUDeUaLrW9cQWen0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yjoHBPyUK8rDunm4m2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bIoXxj.0anjPmwAj5k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yT8BP.00.fb19wpwEf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waUlMRx0Ovc7ulFNPM.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d0_hCmaUS_LJaL8_nZ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KQpmMUkOgsTzNcQoE6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YmA0YEaUeEKiOG2Kvr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CNqfVwkaDtREXL2N0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ScQR8FtEuujVuJgXJHv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PgcZLajky_93lBUCDi2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aMhyIXOUC6yh2jDHTc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gLd7e_kOY_qLL7Kvt7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f.d6Gp_0.GEiAQEYPc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YYgeSc5UOyrFPLtBvS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8vFdPh8EyY9d8IZEsH6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gDufvGUeOkVpKkv1K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KQpmMUkOgsTzNcQoE6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yDX087EKrJkVI0lhh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.H4zFyEyO39gQ6maH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rtoD.ogUqiYVi6ds8F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7M4IEFzE.5Su8Sqkz_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cXZ06e3EG8TZW6weUGS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ppxyM9fEOWurBccbtN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7CvhSOVkuVTr78MZVqj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0I2fWkEkCP2d2rg._9h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fQenIhVkm8UPK8T5h7O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RWI21Z0SneCH_xWql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KQpmMUkOgsTzNcQoE6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EoaTPQbEin0ANZ0vPi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mGAXv0NUax.HoyYxFIY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gaixgV_0.hnElNAFz1X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rAhhVrEGiL89ZK1iW_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tDEAAd7UaXAHRpq3rg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QA5dhlXU.kKDSRC8NL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9f_aNDBE6anfT35o3Y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3kLV9Gk.gSBkolURy4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mz1Zom8k.JCfUZ94u5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jYQy8MAkC32YB9.uk5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KQpmMUkOgsTzNcQoE6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i3Jtbb.E2N2S.JjaI5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3lfzrgUeLw5JNUrnJ_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3jJdxXj0iGb1JTWUJnc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tW5gpC40Oz0spD.Rj_2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JokxPyu0GLL4e1OnrWV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Ey4AUekaLskHja0XXN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8cLOVpwEaMXttzWJ6_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7WN2qSh0OH6uy6J5rfT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l4Qo4g5EuIc.Ky7Jgr6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KHQuGi0kegjxah4nsZ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KQpmMUkOgsTzNcQoE6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5MeqtskaJOJNHPh3cE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KUrxF6KkCcBbjO4s0Ls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zYjR1.06rGobC722hv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dCg9xFSk6P_q5RBhc9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JOPKwOkK9vQy2U4UvT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q7LcaV6kS.Tj.X5FkC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iUaO4bvU6WW2qkdbf6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.Y4Lqbs0uBAA2AJHDa3w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low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Flow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Flow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  <a:scene3d>
          <a:camera prst="orthographicFront" fov="0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3</TotalTime>
  <Words>1211</Words>
  <Application>Microsoft Office PowerPoint</Application>
  <PresentationFormat>On-screen Show (4:3)</PresentationFormat>
  <Paragraphs>247</Paragraphs>
  <Slides>35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6" baseType="lpstr">
      <vt:lpstr>Office Theme</vt:lpstr>
      <vt:lpstr>Science Technology and Innovation Programmes in the AU/NEPAD Agency</vt:lpstr>
      <vt:lpstr>Presentation Layout</vt:lpstr>
      <vt:lpstr>AU/NEPAD Agency </vt:lpstr>
      <vt:lpstr>NEPAD Science Technology &amp; Innovation Hub (NSTIH)</vt:lpstr>
      <vt:lpstr>Main Functions of NSTIH </vt:lpstr>
      <vt:lpstr>PowerPoint Presentation</vt:lpstr>
      <vt:lpstr>Programme Focus </vt:lpstr>
      <vt:lpstr>African Biosciences Initiative</vt:lpstr>
      <vt:lpstr>Achievements in Capacity Building</vt:lpstr>
      <vt:lpstr>Key Outcomes </vt:lpstr>
      <vt:lpstr>PowerPoint Presentation</vt:lpstr>
      <vt:lpstr>Key Outcomes </vt:lpstr>
      <vt:lpstr>Key outcomes</vt:lpstr>
      <vt:lpstr>Key outcomes</vt:lpstr>
      <vt:lpstr>PowerPoint Presentation</vt:lpstr>
      <vt:lpstr>PowerPoint Presentation</vt:lpstr>
      <vt:lpstr>IKS Publications </vt:lpstr>
      <vt:lpstr>African Biosafety Network of Expertise (ABNE)</vt:lpstr>
      <vt:lpstr>Science &amp; Technology for Health</vt:lpstr>
      <vt:lpstr>Almost 85% of Sub-Saharan Africa with MRH projects at various levels</vt:lpstr>
      <vt:lpstr>        NEPAD SOUTHERN AFRICAN NETWORK OF WATER CENTRES OF EXCELLENCE</vt:lpstr>
      <vt:lpstr>Laser Technology</vt:lpstr>
      <vt:lpstr>African Mathematical Sciences Network (AMINet)</vt:lpstr>
      <vt:lpstr>Material Science </vt:lpstr>
      <vt:lpstr>Support to the RECs </vt:lpstr>
      <vt:lpstr>PowerPoint Presentation</vt:lpstr>
      <vt:lpstr>Funding of Programmes </vt:lpstr>
      <vt:lpstr>Challenges </vt:lpstr>
      <vt:lpstr>Challenges </vt:lpstr>
      <vt:lpstr>Lessons Learnt </vt:lpstr>
      <vt:lpstr>Lessons Learned </vt:lpstr>
      <vt:lpstr>Lessons Learned </vt:lpstr>
      <vt:lpstr>Opportunities </vt:lpstr>
      <vt:lpstr>PowerPoint Presentation</vt:lpstr>
      <vt:lpstr>PowerPoint Presentation</vt:lpstr>
    </vt:vector>
  </TitlesOfParts>
  <Company>Development Bank Of S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Benita Nsabua</dc:creator>
  <cp:lastModifiedBy>Chimwemwe Chamdimba</cp:lastModifiedBy>
  <cp:revision>213</cp:revision>
  <dcterms:created xsi:type="dcterms:W3CDTF">2010-03-09T12:36:08Z</dcterms:created>
  <dcterms:modified xsi:type="dcterms:W3CDTF">2012-11-12T15:17:42Z</dcterms:modified>
</cp:coreProperties>
</file>